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6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7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92" r:id="rId2"/>
    <p:sldMasterId id="2147483726" r:id="rId3"/>
    <p:sldMasterId id="2147483787" r:id="rId4"/>
    <p:sldMasterId id="2147483809" r:id="rId5"/>
    <p:sldMasterId id="2147483831" r:id="rId6"/>
    <p:sldMasterId id="2147483853" r:id="rId7"/>
  </p:sldMasterIdLst>
  <p:notesMasterIdLst>
    <p:notesMasterId r:id="rId28"/>
  </p:notesMasterIdLst>
  <p:sldIdLst>
    <p:sldId id="345" r:id="rId8"/>
    <p:sldId id="299" r:id="rId9"/>
    <p:sldId id="399" r:id="rId10"/>
    <p:sldId id="306" r:id="rId11"/>
    <p:sldId id="307" r:id="rId12"/>
    <p:sldId id="311" r:id="rId13"/>
    <p:sldId id="343" r:id="rId14"/>
    <p:sldId id="387" r:id="rId15"/>
    <p:sldId id="388" r:id="rId16"/>
    <p:sldId id="389" r:id="rId17"/>
    <p:sldId id="390" r:id="rId18"/>
    <p:sldId id="391" r:id="rId19"/>
    <p:sldId id="392" r:id="rId20"/>
    <p:sldId id="393" r:id="rId21"/>
    <p:sldId id="394" r:id="rId22"/>
    <p:sldId id="395" r:id="rId23"/>
    <p:sldId id="396" r:id="rId24"/>
    <p:sldId id="398" r:id="rId25"/>
    <p:sldId id="344" r:id="rId26"/>
    <p:sldId id="381" r:id="rId2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89" d="100"/>
          <a:sy n="89" d="100"/>
        </p:scale>
        <p:origin x="-1109" y="-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0" d="100"/>
        <a:sy n="140" d="100"/>
      </p:scale>
      <p:origin x="0" y="-693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A38766-CFAE-5F42-97DC-A8A44E084D0F}" type="datetimeFigureOut">
              <a:rPr lang="en-US" smtClean="0"/>
              <a:pPr/>
              <a:t>1/14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05992A-00E4-E64F-B454-7574DC90F10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9649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14BDAA9-4B79-4D9F-9CC6-3B884BAB22E1}" type="slidenum">
              <a:rPr lang="en-US" smtClean="0">
                <a:solidFill>
                  <a:prstClr val="black"/>
                </a:solidFill>
                <a:ea typeface="ＭＳ Ｐゴシック" pitchFamily="34" charset="-128"/>
              </a:rPr>
              <a:pPr/>
              <a:t>1</a:t>
            </a:fld>
            <a:endParaRPr lang="en-US" smtClean="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b="1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5222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55283" indent="-290493" eaLnBrk="0" hangingPunct="0"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61974" indent="-232395" eaLnBrk="0" hangingPunct="0"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26763" indent="-232395" eaLnBrk="0" hangingPunct="0"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91553" indent="-232395" eaLnBrk="0" hangingPunct="0"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56342" indent="-23239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3021132" indent="-23239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85921" indent="-23239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950711" indent="-23239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fld id="{6026474C-9B8F-40E6-9D32-A5EED0BC46C3}" type="slidenum">
              <a:rPr lang="en-US" altLang="en-US" sz="1200">
                <a:solidFill>
                  <a:prstClr val="black"/>
                </a:solidFill>
              </a:rPr>
              <a:pPr/>
              <a:t>3</a:t>
            </a:fld>
            <a:endParaRPr lang="en-US" altLang="en-US" sz="1200">
              <a:solidFill>
                <a:prstClr val="black"/>
              </a:solidFill>
            </a:endParaRPr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44036" name="Rectangle 4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 smtClean="0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445037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de-DE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99824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4C9CB99-13AA-43EF-A78C-01166EF11DD2}" type="slidenum">
              <a:rPr lang="en-US">
                <a:solidFill>
                  <a:prstClr val="black"/>
                </a:solidFill>
              </a:rPr>
              <a:pPr/>
              <a:t>2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2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3078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23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7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9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81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0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1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2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23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6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8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9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0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1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1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2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3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4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0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5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6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2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6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2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8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.jpeg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9.bin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5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6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7.jpe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8.jp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9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20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3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5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7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8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0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3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4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5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5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3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0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8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5.jpeg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9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3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4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5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66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7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8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2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9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2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0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71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2.bin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568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14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8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584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457200"/>
            <a:ext cx="7543800" cy="5032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143000"/>
            <a:ext cx="838200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71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60648"/>
            <a:ext cx="8229600" cy="648072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25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34255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229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4663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6401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6288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23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946852" y="6597351"/>
            <a:ext cx="1109663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6" y="1268760"/>
            <a:ext cx="8424863" cy="511256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7968" y="49015"/>
            <a:ext cx="827432" cy="82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88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99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-9923" y="618976"/>
            <a:ext cx="9150077" cy="59062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6418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hoek 13"/>
          <p:cNvSpPr/>
          <p:nvPr userDrawn="1"/>
        </p:nvSpPr>
        <p:spPr>
          <a:xfrm>
            <a:off x="-9923" y="618976"/>
            <a:ext cx="9150077" cy="59142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16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8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801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000000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205453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exa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Afbeelding 1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600" y="618976"/>
            <a:ext cx="8315400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1818779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Afbeelding 17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66" y="625395"/>
            <a:ext cx="9097234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2539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979532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Afbeelding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5"/>
            <a:ext cx="9144000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1309699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Afbeelding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18976"/>
            <a:ext cx="9144001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291054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Afbeelding 1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58666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809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8034337" y="6574307"/>
            <a:ext cx="1109663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smtClean="0"/>
              <a:t>Remote Survey Solutions – An Active / Passive Approach</a:t>
            </a:r>
          </a:p>
        </p:txBody>
      </p:sp>
    </p:spTree>
    <p:extLst>
      <p:ext uri="{BB962C8B-B14F-4D97-AF65-F5344CB8AC3E}">
        <p14:creationId xmlns:p14="http://schemas.microsoft.com/office/powerpoint/2010/main" val="3678625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Afbeelding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0"/>
            <a:ext cx="9144000" cy="5933064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-36512" y="592280"/>
            <a:ext cx="2880000" cy="5940927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424734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1"/>
            <a:ext cx="9144000" cy="5940927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0" y="592280"/>
            <a:ext cx="2880000" cy="5940927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123266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Afbeelding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0"/>
            <a:ext cx="9143528" cy="5861056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-36512" y="592281"/>
            <a:ext cx="2880000" cy="58610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6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8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65008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44000" cy="5914232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srgbClr val="FFFFFF"/>
              </a:solidFill>
            </a:endParaRPr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874969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exa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Afbeelding 1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600" y="618976"/>
            <a:ext cx="8315400" cy="5914232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11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8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20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143000"/>
            <a:ext cx="8382000" cy="5257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72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457200"/>
            <a:ext cx="7543800" cy="5032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143000"/>
            <a:ext cx="838200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757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60648"/>
            <a:ext cx="8229600" cy="648072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543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93539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84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28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2840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6288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34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946852" y="6597351"/>
            <a:ext cx="1109663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6" y="1268760"/>
            <a:ext cx="8424863" cy="511256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7968" y="49015"/>
            <a:ext cx="827432" cy="82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72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3" y="619636"/>
            <a:ext cx="9143997" cy="59057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6200" y="-1"/>
            <a:ext cx="1237100" cy="123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528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Afbeelding 17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66" y="618977"/>
            <a:ext cx="9097234" cy="5914232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11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9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17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99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-9923" y="618976"/>
            <a:ext cx="9150077" cy="59062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71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000000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832418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exa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Afbeelding 1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600" y="618976"/>
            <a:ext cx="8315400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40217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Afbeelding 17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66" y="625395"/>
            <a:ext cx="9097234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2539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833590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Afbeelding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5"/>
            <a:ext cx="9144000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10477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Afbeelding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18976"/>
            <a:ext cx="9144001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271744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Afbeelding 1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58666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809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8034337" y="6574307"/>
            <a:ext cx="1109663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42458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Afbeelding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0"/>
            <a:ext cx="9144000" cy="5933064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-36512" y="592280"/>
            <a:ext cx="2880000" cy="5940927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422948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1"/>
            <a:ext cx="9144000" cy="5940927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0" y="592280"/>
            <a:ext cx="2880000" cy="5940927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587761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Afbeelding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5"/>
            <a:ext cx="9144000" cy="5914233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11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9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48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Afbeelding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0"/>
            <a:ext cx="9143528" cy="5861056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-36512" y="592281"/>
            <a:ext cx="2880000" cy="58610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6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8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32642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44000" cy="5914232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srgbClr val="FFFFFF"/>
              </a:solidFill>
            </a:endParaRPr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66595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143000"/>
            <a:ext cx="8382000" cy="5257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097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457200"/>
            <a:ext cx="7543800" cy="5032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143000"/>
            <a:ext cx="838200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332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Afbeelding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18976"/>
            <a:ext cx="9144001" cy="5914232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11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9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93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Afbeelding 1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58666" cy="5914232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11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9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6145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Afbeelding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44000" cy="5906368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11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9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61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7"/>
            <a:ext cx="9144000" cy="5914232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11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8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35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7" y="618976"/>
            <a:ext cx="9134113" cy="5861056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16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8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13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9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72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562074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en-US" dirty="0"/>
          </a:p>
        </p:txBody>
      </p:sp>
      <p:sp>
        <p:nvSpPr>
          <p:cNvPr id="4" name="Inhaltsplatzhalter 2"/>
          <p:cNvSpPr>
            <a:spLocks noGrp="1"/>
          </p:cNvSpPr>
          <p:nvPr>
            <p:ph sz="half" idx="1"/>
          </p:nvPr>
        </p:nvSpPr>
        <p:spPr>
          <a:xfrm>
            <a:off x="457200" y="1268760"/>
            <a:ext cx="8291264" cy="485740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485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7057" y="618976"/>
            <a:ext cx="8936944" cy="5914232"/>
          </a:xfrm>
          <a:prstGeom prst="rect">
            <a:avLst/>
          </a:prstGeom>
        </p:spPr>
      </p:pic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21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23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69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7704" y="618976"/>
            <a:ext cx="7236296" cy="5914232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sp>
        <p:nvSpPr>
          <p:cNvPr id="18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20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701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59633" y="618976"/>
            <a:ext cx="7884368" cy="5914232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1557624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284" y="618976"/>
            <a:ext cx="9153284" cy="5914232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963888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9999" y="618976"/>
            <a:ext cx="6286557" cy="5914232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730881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9287" y="618976"/>
            <a:ext cx="6554714" cy="5922244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211263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2242839" y="618977"/>
            <a:ext cx="6918251" cy="5914231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82883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48464" y="1268760"/>
            <a:ext cx="3600000" cy="50405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04056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4803"/>
            <a:ext cx="735193" cy="735701"/>
          </a:xfrm>
          <a:prstGeom prst="rect">
            <a:avLst/>
          </a:prstGeom>
        </p:spPr>
      </p:pic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jdelijke aanduiding voor afbeelding 3"/>
          <p:cNvSpPr>
            <a:spLocks noGrp="1"/>
          </p:cNvSpPr>
          <p:nvPr>
            <p:ph type="pic" sz="quarter" idx="12" hasCustomPrompt="1"/>
          </p:nvPr>
        </p:nvSpPr>
        <p:spPr>
          <a:xfrm>
            <a:off x="5148464" y="1268760"/>
            <a:ext cx="3600000" cy="504056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10 x 14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</p:spTree>
    <p:extLst>
      <p:ext uri="{BB962C8B-B14F-4D97-AF65-F5344CB8AC3E}">
        <p14:creationId xmlns:p14="http://schemas.microsoft.com/office/powerpoint/2010/main" val="2200820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 +  2 x image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11952" y="1295822"/>
            <a:ext cx="3600000" cy="234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395536" y="1268760"/>
            <a:ext cx="4464496" cy="504056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11952" y="3897312"/>
            <a:ext cx="3600000" cy="234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5114978" y="3626586"/>
            <a:ext cx="3596974" cy="27072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caption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20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5111952" y="6237312"/>
            <a:ext cx="3596974" cy="28803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caption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11952" y="3897312"/>
            <a:ext cx="3600000" cy="234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10 x 6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5" name="Tijdelijke aanduiding voor afbeelding 3"/>
          <p:cNvSpPr>
            <a:spLocks noGrp="1"/>
          </p:cNvSpPr>
          <p:nvPr>
            <p:ph type="pic" sz="quarter" idx="15" hasCustomPrompt="1"/>
          </p:nvPr>
        </p:nvSpPr>
        <p:spPr>
          <a:xfrm>
            <a:off x="5111952" y="1295822"/>
            <a:ext cx="3600000" cy="234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10 x 6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6" name="Afbeelding 2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4803"/>
            <a:ext cx="735193" cy="73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902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 + 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32048" y="1250888"/>
            <a:ext cx="8279904" cy="117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32048" y="2564904"/>
            <a:ext cx="8279904" cy="37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32048" y="2564904"/>
            <a:ext cx="8279904" cy="37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 x 10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4803"/>
            <a:ext cx="735193" cy="73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45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268760"/>
            <a:ext cx="4038600" cy="485740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0"/>
          </p:nvPr>
        </p:nvSpPr>
        <p:spPr>
          <a:xfrm>
            <a:off x="4637856" y="1268760"/>
            <a:ext cx="4038600" cy="485740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562074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771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0150" y="5877272"/>
            <a:ext cx="8424936" cy="64807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caption</a:t>
            </a:r>
            <a:endParaRPr lang="nl-NL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32000" y="1233256"/>
            <a:ext cx="828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1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22" name="Rechte verbindingslijn 21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32000" y="1233256"/>
            <a:ext cx="828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23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4" name="Afbeelding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4803"/>
            <a:ext cx="735193" cy="73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39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 2 x Text + Images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8782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6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0"/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-23218" y="372654"/>
            <a:ext cx="9167217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8782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4749667" y="3501328"/>
            <a:ext cx="396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49668" y="1268760"/>
            <a:ext cx="39600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6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25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26" name="Rechthoek 2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28" name="Rechte verbindingslijn 2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8782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1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49667" y="3501328"/>
            <a:ext cx="396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11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9" name="Afbeelding 1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4803"/>
            <a:ext cx="735193" cy="73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91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 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03251" y="5877272"/>
            <a:ext cx="3960000" cy="64807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caption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03251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Rechthoek 13"/>
          <p:cNvSpPr/>
          <p:nvPr userDrawn="1"/>
        </p:nvSpPr>
        <p:spPr>
          <a:xfrm>
            <a:off x="4752000" y="1269280"/>
            <a:ext cx="3960000" cy="450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752000" y="5866470"/>
            <a:ext cx="3996464" cy="65887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caption</a:t>
            </a:r>
            <a:endParaRPr lang="nl-NL" dirty="0" smtClean="0"/>
          </a:p>
          <a:p>
            <a:pPr lvl="0"/>
            <a:endParaRPr lang="nl-NL" dirty="0" smtClean="0"/>
          </a:p>
        </p:txBody>
      </p:sp>
      <p:pic>
        <p:nvPicPr>
          <p:cNvPr id="21" name="Afbeelding 2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-4489"/>
            <a:ext cx="735193" cy="735701"/>
          </a:xfrm>
          <a:prstGeom prst="rect">
            <a:avLst/>
          </a:prstGeom>
        </p:spPr>
      </p:pic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24" name="Rechte verbindingslijn 23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03251" y="126928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752000" y="1269280"/>
            <a:ext cx="3960000" cy="450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11 x 12.5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</p:spTree>
    <p:extLst>
      <p:ext uri="{BB962C8B-B14F-4D97-AF65-F5344CB8AC3E}">
        <p14:creationId xmlns:p14="http://schemas.microsoft.com/office/powerpoint/2010/main" val="1414066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2 x text + image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5119067" y="1268760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32048" y="1268760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5111952" y="3897312"/>
            <a:ext cx="360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432048" y="3897312"/>
            <a:ext cx="4464496" cy="252000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20" name="Rechthoek 19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5119067" y="1268760"/>
            <a:ext cx="3592885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5119067" y="3897312"/>
            <a:ext cx="360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10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5" name="Afbeelding 2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4803"/>
            <a:ext cx="735193" cy="73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658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0_2 x image + caption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438944" y="1269040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6372200" y="1295776"/>
            <a:ext cx="2411761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caption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7" name="Rechthoek 16"/>
          <p:cNvSpPr/>
          <p:nvPr userDrawn="1"/>
        </p:nvSpPr>
        <p:spPr>
          <a:xfrm>
            <a:off x="427906" y="3897312"/>
            <a:ext cx="5760000" cy="252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6372200" y="3905721"/>
            <a:ext cx="2339752" cy="126912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caption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8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21" name="Rechthoek 2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2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23" name="Rechte verbindingslijn 22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3" hasCustomPrompt="1"/>
          </p:nvPr>
        </p:nvSpPr>
        <p:spPr>
          <a:xfrm>
            <a:off x="438944" y="1269040"/>
            <a:ext cx="5748962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27906" y="3897312"/>
            <a:ext cx="5760000" cy="252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16 x 7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19" name="Afbeelding 1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4803"/>
            <a:ext cx="735193" cy="73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613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 x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485718" y="3544643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6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3555706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6191952" y="3555706"/>
            <a:ext cx="2520000" cy="288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3275856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6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22" name="Tijdelijke aanduiding voor tekst 2"/>
          <p:cNvSpPr>
            <a:spLocks noGrp="1"/>
          </p:cNvSpPr>
          <p:nvPr>
            <p:ph type="body" idx="12" hasCustomPrompt="1"/>
          </p:nvPr>
        </p:nvSpPr>
        <p:spPr>
          <a:xfrm>
            <a:off x="6191952" y="1268760"/>
            <a:ext cx="2510600" cy="201622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600" i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7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8" name="Rechthoek 17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3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85718" y="3555705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3555706"/>
            <a:ext cx="2520000" cy="288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7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191952" y="3555705"/>
            <a:ext cx="2520000" cy="2868937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7  x 8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3" name="Afbeelding 2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4803"/>
            <a:ext cx="735193" cy="73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153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 x text +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/>
          <p:cNvSpPr/>
          <p:nvPr userDrawn="1"/>
        </p:nvSpPr>
        <p:spPr>
          <a:xfrm>
            <a:off x="432048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5408930"/>
            <a:ext cx="2510600" cy="75637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caption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3" name="Rechthoek 12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9" name="Rechthoek 18"/>
          <p:cNvSpPr/>
          <p:nvPr userDrawn="1"/>
        </p:nvSpPr>
        <p:spPr>
          <a:xfrm>
            <a:off x="3310557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Rechthoek 19"/>
          <p:cNvSpPr/>
          <p:nvPr userDrawn="1"/>
        </p:nvSpPr>
        <p:spPr>
          <a:xfrm>
            <a:off x="6202965" y="1269200"/>
            <a:ext cx="2520000" cy="39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jdelijke aanduiding voor tekst 2"/>
          <p:cNvSpPr>
            <a:spLocks noGrp="1"/>
          </p:cNvSpPr>
          <p:nvPr>
            <p:ph type="body" idx="10" hasCustomPrompt="1"/>
          </p:nvPr>
        </p:nvSpPr>
        <p:spPr>
          <a:xfrm>
            <a:off x="3357544" y="5408930"/>
            <a:ext cx="2510600" cy="75637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caption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7" name="Tijdelijke aanduiding voor tekst 2"/>
          <p:cNvSpPr>
            <a:spLocks noGrp="1"/>
          </p:cNvSpPr>
          <p:nvPr>
            <p:ph type="body" idx="11" hasCustomPrompt="1"/>
          </p:nvPr>
        </p:nvSpPr>
        <p:spPr>
          <a:xfrm>
            <a:off x="6237864" y="5408930"/>
            <a:ext cx="2510600" cy="756374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0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caption</a:t>
            </a:r>
            <a:endParaRPr lang="nl-NL" dirty="0" smtClean="0"/>
          </a:p>
          <a:p>
            <a:pPr lvl="0"/>
            <a:endParaRPr lang="nl-NL" dirty="0" smtClean="0"/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21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22" name="Rechthoek 21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25" name="Tijdelijke aanduiding voor inhoud 12"/>
          <p:cNvSpPr>
            <a:spLocks noGrp="1"/>
          </p:cNvSpPr>
          <p:nvPr>
            <p:ph sz="quarter" idx="12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26" name="Rechte verbindingslijn 25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432048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8" name="Tijdelijke aanduiding voor afbeelding 3"/>
          <p:cNvSpPr>
            <a:spLocks noGrp="1"/>
          </p:cNvSpPr>
          <p:nvPr>
            <p:ph type="pic" sz="quarter" idx="17" hasCustomPrompt="1"/>
          </p:nvPr>
        </p:nvSpPr>
        <p:spPr>
          <a:xfrm>
            <a:off x="3310557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sp>
        <p:nvSpPr>
          <p:cNvPr id="29" name="Tijdelijke aanduiding voor afbeelding 3"/>
          <p:cNvSpPr>
            <a:spLocks noGrp="1"/>
          </p:cNvSpPr>
          <p:nvPr>
            <p:ph type="pic" sz="quarter" idx="18" hasCustomPrompt="1"/>
          </p:nvPr>
        </p:nvSpPr>
        <p:spPr>
          <a:xfrm>
            <a:off x="6202965" y="1269200"/>
            <a:ext cx="2520000" cy="3960000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err="1" smtClean="0"/>
              <a:t>Add</a:t>
            </a:r>
            <a:r>
              <a:rPr lang="nl-NL" dirty="0" smtClean="0"/>
              <a:t> Image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fill</a:t>
            </a:r>
            <a:r>
              <a:rPr lang="nl-NL" dirty="0" smtClean="0"/>
              <a:t> the </a:t>
            </a:r>
            <a:r>
              <a:rPr lang="nl-NL" dirty="0" err="1" smtClean="0"/>
              <a:t>grey</a:t>
            </a:r>
            <a:r>
              <a:rPr lang="nl-NL" dirty="0" smtClean="0"/>
              <a:t> box. Image </a:t>
            </a:r>
            <a:r>
              <a:rPr lang="nl-NL" dirty="0" err="1" smtClean="0"/>
              <a:t>size</a:t>
            </a:r>
            <a:r>
              <a:rPr lang="nl-NL" dirty="0" smtClean="0"/>
              <a:t> 7 x 11 cm.</a:t>
            </a:r>
          </a:p>
          <a:p>
            <a:endParaRPr lang="nl-NL" dirty="0" smtClean="0"/>
          </a:p>
          <a:p>
            <a:r>
              <a:rPr lang="nl-NL" dirty="0" smtClean="0"/>
              <a:t>	 </a:t>
            </a:r>
          </a:p>
        </p:txBody>
      </p:sp>
      <p:pic>
        <p:nvPicPr>
          <p:cNvPr id="23" name="Afbeelding 2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4803"/>
            <a:ext cx="735193" cy="73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674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6" y="1268760"/>
            <a:ext cx="8424863" cy="511256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4803"/>
            <a:ext cx="735193" cy="73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74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8807" y="4803"/>
            <a:ext cx="735193" cy="735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85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hoek 14"/>
          <p:cNvSpPr>
            <a:spLocks/>
          </p:cNvSpPr>
          <p:nvPr userDrawn="1"/>
        </p:nvSpPr>
        <p:spPr>
          <a:xfrm>
            <a:off x="3" y="619636"/>
            <a:ext cx="9143997" cy="5905708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sz="14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7" name="Tijdelijke aanduiding voor tekst 2"/>
          <p:cNvSpPr>
            <a:spLocks noGrp="1"/>
          </p:cNvSpPr>
          <p:nvPr>
            <p:ph type="body" idx="1" hasCustomPrompt="1"/>
          </p:nvPr>
        </p:nvSpPr>
        <p:spPr>
          <a:xfrm>
            <a:off x="467544" y="2708920"/>
            <a:ext cx="3960440" cy="2232248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16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74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268760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925984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268760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1925984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  <a:lvl2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2pPr>
            <a:lvl3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562074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24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" y="429768"/>
            <a:ext cx="8229600" cy="542926"/>
          </a:xfrm>
          <a:prstGeom prst="rect">
            <a:avLst/>
          </a:prstGeom>
        </p:spPr>
        <p:txBody>
          <a:bodyPr/>
          <a:lstStyle>
            <a:lvl1pPr algn="l">
              <a:defRPr sz="24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504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9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443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032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6288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13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946852" y="6597351"/>
            <a:ext cx="1109663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6" y="1268760"/>
            <a:ext cx="8424863" cy="511256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7968" y="49015"/>
            <a:ext cx="827432" cy="82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044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61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-9923" y="618976"/>
            <a:ext cx="9150077" cy="59062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9304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000000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141541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exa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Afbeelding 1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600" y="618976"/>
            <a:ext cx="8315400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57925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8229600" cy="562074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br>
              <a:rPr lang="de-DE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58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Afbeelding 17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66" y="625395"/>
            <a:ext cx="9097234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2539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10858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Afbeelding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5"/>
            <a:ext cx="9144000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168400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Afbeelding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18976"/>
            <a:ext cx="9144001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1435044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Afbeelding 1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58666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809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8034337" y="6574307"/>
            <a:ext cx="1109663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97732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Afbeelding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0"/>
            <a:ext cx="9144000" cy="5933064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-36512" y="592280"/>
            <a:ext cx="2880000" cy="5940927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600347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1"/>
            <a:ext cx="9144000" cy="5940927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0" y="592280"/>
            <a:ext cx="2880000" cy="5940927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894942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Afbeelding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0"/>
            <a:ext cx="9143528" cy="5861056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-36512" y="592281"/>
            <a:ext cx="2880000" cy="58610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6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8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164288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44000" cy="5914232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srgbClr val="FFFFFF"/>
              </a:solidFill>
            </a:endParaRPr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83267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143000"/>
            <a:ext cx="8382000" cy="5257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54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457200"/>
            <a:ext cx="7543800" cy="5032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143000"/>
            <a:ext cx="838200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17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1196752"/>
            <a:ext cx="5486400" cy="35308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Titel 1"/>
          <p:cNvSpPr txBox="1">
            <a:spLocks/>
          </p:cNvSpPr>
          <p:nvPr userDrawn="1"/>
        </p:nvSpPr>
        <p:spPr>
          <a:xfrm>
            <a:off x="457200" y="274638"/>
            <a:ext cx="8229600" cy="562074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kern="0" smtClean="0">
                <a:solidFill>
                  <a:srgbClr val="FFFFFF"/>
                </a:solidFill>
                <a:latin typeface="Myriad Pro"/>
                <a:cs typeface="Arial"/>
              </a:rPr>
              <a:t>Titelmasterformat durch Klicken bearbeiten</a:t>
            </a:r>
            <a:br>
              <a:rPr lang="de-DE" kern="0" smtClean="0">
                <a:solidFill>
                  <a:srgbClr val="FFFFFF"/>
                </a:solidFill>
                <a:latin typeface="Myriad Pro"/>
                <a:cs typeface="Arial"/>
              </a:rPr>
            </a:br>
            <a:endParaRPr lang="en-US" kern="0" dirty="0">
              <a:solidFill>
                <a:srgbClr val="FFFFFF"/>
              </a:solidFill>
              <a:latin typeface="Myriad Pro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737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60648"/>
            <a:ext cx="8229600" cy="648072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67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374451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76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6288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36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946852" y="6597351"/>
            <a:ext cx="1109663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6" y="1268760"/>
            <a:ext cx="8424863" cy="511256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7968" y="49015"/>
            <a:ext cx="827432" cy="82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537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32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-9923" y="618976"/>
            <a:ext cx="9150077" cy="59062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81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000000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23509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exa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Afbeelding 1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600" y="618976"/>
            <a:ext cx="8315400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197070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798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Afbeelding 17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66" y="625395"/>
            <a:ext cx="9097234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2539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069715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Afbeelding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5"/>
            <a:ext cx="9144000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973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Afbeelding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18976"/>
            <a:ext cx="9144001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13830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Afbeelding 1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58666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809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8034337" y="6574307"/>
            <a:ext cx="1109663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476642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Afbeelding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0"/>
            <a:ext cx="9144000" cy="5933064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-36512" y="592280"/>
            <a:ext cx="2880000" cy="5940927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618746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1"/>
            <a:ext cx="9144000" cy="5940927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0" y="592280"/>
            <a:ext cx="2880000" cy="5940927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89807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Afbeelding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0"/>
            <a:ext cx="9143528" cy="5861056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-36512" y="592281"/>
            <a:ext cx="2880000" cy="58610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6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8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67637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44000" cy="5914232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srgbClr val="FFFFFF"/>
              </a:solidFill>
            </a:endParaRPr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93990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143000"/>
            <a:ext cx="8382000" cy="5257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3337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457200"/>
            <a:ext cx="7543800" cy="5032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143000"/>
            <a:ext cx="8382000" cy="5257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491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prstClr val="white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18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260648"/>
            <a:ext cx="8229600" cy="648072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39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 smtClean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77823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940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121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4135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5288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6288" y="12954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16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 page or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/>
          <p:cNvSpPr/>
          <p:nvPr userDrawn="1"/>
        </p:nvSpPr>
        <p:spPr>
          <a:xfrm>
            <a:off x="0" y="372654"/>
            <a:ext cx="9144000" cy="4389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 dirty="0">
              <a:solidFill>
                <a:prstClr val="white"/>
              </a:solidFill>
            </a:endParaRP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251520" y="20632"/>
            <a:ext cx="7459289" cy="1143000"/>
          </a:xfrm>
        </p:spPr>
        <p:txBody>
          <a:bodyPr>
            <a:normAutofit/>
          </a:bodyPr>
          <a:lstStyle>
            <a:lvl1pPr algn="l"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946852" y="6597351"/>
            <a:ext cx="1109663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  <p:cxnSp>
        <p:nvCxnSpPr>
          <p:cNvPr id="18" name="Rechte verbindingslijn 17"/>
          <p:cNvCxnSpPr/>
          <p:nvPr userDrawn="1"/>
        </p:nvCxnSpPr>
        <p:spPr>
          <a:xfrm>
            <a:off x="358557" y="6597352"/>
            <a:ext cx="8426886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382196" y="1268760"/>
            <a:ext cx="8424863" cy="511256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</p:txBody>
      </p:sp>
      <p:pic>
        <p:nvPicPr>
          <p:cNvPr id="11" name="Afbeelding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7968" y="49015"/>
            <a:ext cx="827432" cy="82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728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302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-9923" y="618976"/>
            <a:ext cx="9150077" cy="59062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363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logo and image adjustable i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9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8976"/>
            <a:ext cx="9144000" cy="5914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1" name="Rechthoek 10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000000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83683A"/>
              </a:solidFill>
            </a:endParaRPr>
          </a:p>
        </p:txBody>
      </p:sp>
      <p:sp>
        <p:nvSpPr>
          <p:cNvPr id="13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899592" y="6597352"/>
            <a:ext cx="5832475" cy="2603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60365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Frontpage_logo and image adjustable 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hoek 8"/>
          <p:cNvSpPr/>
          <p:nvPr userDrawn="1"/>
        </p:nvSpPr>
        <p:spPr>
          <a:xfrm>
            <a:off x="-9923" y="618976"/>
            <a:ext cx="9150077" cy="59062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hthoek 7"/>
          <p:cNvSpPr/>
          <p:nvPr userDrawn="1"/>
        </p:nvSpPr>
        <p:spPr>
          <a:xfrm>
            <a:off x="0" y="5445224"/>
            <a:ext cx="9140155" cy="1080000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528" y="5445224"/>
            <a:ext cx="8280920" cy="648072"/>
          </a:xfrm>
        </p:spPr>
        <p:txBody>
          <a:bodyPr>
            <a:normAutofit/>
          </a:bodyPr>
          <a:lstStyle>
            <a:lvl1pPr algn="l">
              <a:defRPr sz="28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the </a:t>
            </a:r>
            <a:r>
              <a:rPr lang="nl-NL" dirty="0" err="1" smtClean="0"/>
              <a:t>title</a:t>
            </a:r>
            <a:r>
              <a:rPr lang="nl-NL" dirty="0" smtClean="0"/>
              <a:t> of the </a:t>
            </a:r>
            <a:r>
              <a:rPr lang="nl-NL" dirty="0" err="1" smtClean="0"/>
              <a:t>Frontpage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prstClr val="white"/>
              </a:solidFill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6092825"/>
            <a:ext cx="8280920" cy="4397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76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_exa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Afbeelding 1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600" y="618976"/>
            <a:ext cx="8315400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158841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Afbeelding 17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66" y="625395"/>
            <a:ext cx="9097234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2539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921089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Afbeelding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5"/>
            <a:ext cx="9144000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6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579221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Afbeelding 15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618976"/>
            <a:ext cx="9144001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857475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Afbeelding 13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58666" cy="5907813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3845" y="618976"/>
            <a:ext cx="2880000" cy="5907813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0809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8034337" y="6574307"/>
            <a:ext cx="1109663" cy="2143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141425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Afbeelding 1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0"/>
            <a:ext cx="9144000" cy="5933064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-36512" y="592280"/>
            <a:ext cx="2880000" cy="5940927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11723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1"/>
            <a:ext cx="9144000" cy="5940927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0" y="592280"/>
            <a:ext cx="2880000" cy="5940927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6" name="Rechthoek 15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7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059091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Afbeelding 10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92280"/>
            <a:ext cx="9143528" cy="5861056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-36512" y="592281"/>
            <a:ext cx="2880000" cy="5861056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prstClr val="white"/>
              </a:solidFill>
            </a:endParaRPr>
          </a:p>
        </p:txBody>
      </p:sp>
      <p:pic>
        <p:nvPicPr>
          <p:cNvPr id="15" name="Afbeelding 14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536" y="1412776"/>
            <a:ext cx="2242592" cy="3240360"/>
          </a:xfrm>
        </p:spPr>
        <p:txBody>
          <a:bodyPr>
            <a:normAutofit/>
          </a:bodyPr>
          <a:lstStyle>
            <a:lvl1pPr>
              <a:defRPr sz="24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dirty="0" smtClean="0"/>
              <a:t>CLICK TO ADD TEXT</a:t>
            </a:r>
            <a:endParaRPr lang="nl-NL" dirty="0"/>
          </a:p>
        </p:txBody>
      </p:sp>
      <p:sp>
        <p:nvSpPr>
          <p:cNvPr id="12" name="Titel 1"/>
          <p:cNvSpPr txBox="1">
            <a:spLocks/>
          </p:cNvSpPr>
          <p:nvPr userDrawn="1"/>
        </p:nvSpPr>
        <p:spPr>
          <a:xfrm>
            <a:off x="251520" y="1565176"/>
            <a:ext cx="2242592" cy="3240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dirty="0" smtClean="0">
              <a:solidFill>
                <a:srgbClr val="FFFFFF"/>
              </a:solidFill>
            </a:endParaRPr>
          </a:p>
        </p:txBody>
      </p:sp>
      <p:sp>
        <p:nvSpPr>
          <p:cNvPr id="16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8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3960531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Start of a new section exampl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Afbeelding 8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18976"/>
            <a:ext cx="9144000" cy="5914232"/>
          </a:xfrm>
          <a:prstGeom prst="rect">
            <a:avLst/>
          </a:prstGeom>
        </p:spPr>
      </p:pic>
      <p:sp>
        <p:nvSpPr>
          <p:cNvPr id="8" name="Rechthoek 7"/>
          <p:cNvSpPr/>
          <p:nvPr userDrawn="1"/>
        </p:nvSpPr>
        <p:spPr>
          <a:xfrm>
            <a:off x="0" y="618976"/>
            <a:ext cx="2880000" cy="5914232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l-NL">
              <a:solidFill>
                <a:srgbClr val="FFFFFF"/>
              </a:solidFill>
            </a:endParaRPr>
          </a:p>
        </p:txBody>
      </p:sp>
      <p:pic>
        <p:nvPicPr>
          <p:cNvPr id="17" name="Afbeelding 16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364" y="0"/>
            <a:ext cx="1237100" cy="123795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3184" y="1412776"/>
            <a:ext cx="2242592" cy="3240360"/>
          </a:xfrm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 dirty="0" smtClean="0"/>
              <a:t>CLICK TO ADD TEXT</a:t>
            </a:r>
          </a:p>
        </p:txBody>
      </p:sp>
      <p:sp>
        <p:nvSpPr>
          <p:cNvPr id="13" name="Text Box 14"/>
          <p:cNvSpPr txBox="1">
            <a:spLocks noChangeArrowheads="1"/>
          </p:cNvSpPr>
          <p:nvPr userDrawn="1"/>
        </p:nvSpPr>
        <p:spPr bwMode="auto">
          <a:xfrm>
            <a:off x="7710809" y="6597352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>
              <a:defRPr/>
            </a:pPr>
            <a:r>
              <a:rPr lang="en-US" sz="800" dirty="0">
                <a:solidFill>
                  <a:srgbClr val="437C92"/>
                </a:solidFill>
                <a:cs typeface="Arial" pitchFamily="34" charset="0"/>
              </a:rPr>
              <a:t>www.fugro.com</a:t>
            </a:r>
          </a:p>
        </p:txBody>
      </p:sp>
      <p:sp>
        <p:nvSpPr>
          <p:cNvPr id="14" name="Rechthoek 13"/>
          <p:cNvSpPr/>
          <p:nvPr userDrawn="1"/>
        </p:nvSpPr>
        <p:spPr>
          <a:xfrm>
            <a:off x="299610" y="6597352"/>
            <a:ext cx="3722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400"/>
            <a:fld id="{242D2C83-8A77-4AFB-8AD4-2A5FEF35BFFB}" type="slidenum">
              <a:rPr lang="en-US" altLang="en-US" sz="800" smtClean="0">
                <a:solidFill>
                  <a:srgbClr val="437C92"/>
                </a:solidFill>
              </a:rPr>
              <a:pPr algn="r" defTabSz="914400"/>
              <a:t>‹#›</a:t>
            </a:fld>
            <a:endParaRPr lang="en-US" altLang="en-US" sz="800" dirty="0">
              <a:solidFill>
                <a:srgbClr val="437C92"/>
              </a:solidFill>
            </a:endParaRPr>
          </a:p>
        </p:txBody>
      </p:sp>
      <p:sp>
        <p:nvSpPr>
          <p:cNvPr id="15" name="Tijdelijke aanduiding voor inhoud 12"/>
          <p:cNvSpPr>
            <a:spLocks noGrp="1"/>
          </p:cNvSpPr>
          <p:nvPr>
            <p:ph sz="quarter" idx="11" hasCustomPrompt="1"/>
          </p:nvPr>
        </p:nvSpPr>
        <p:spPr>
          <a:xfrm>
            <a:off x="755749" y="6597352"/>
            <a:ext cx="5832475" cy="1833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800" baseline="0">
                <a:solidFill>
                  <a:srgbClr val="437C92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FontTx/>
              <a:buNone/>
              <a:defRPr sz="800">
                <a:solidFill>
                  <a:srgbClr val="437C92"/>
                </a:solidFill>
              </a:defRPr>
            </a:lvl2pPr>
            <a:lvl3pPr marL="914400" indent="0">
              <a:buFontTx/>
              <a:buNone/>
              <a:defRPr sz="800">
                <a:solidFill>
                  <a:srgbClr val="437C92"/>
                </a:solidFill>
              </a:defRPr>
            </a:lvl3pPr>
            <a:lvl4pPr marL="1371600" indent="0">
              <a:buFontTx/>
              <a:buNone/>
              <a:defRPr sz="800">
                <a:solidFill>
                  <a:srgbClr val="437C92"/>
                </a:solidFill>
              </a:defRPr>
            </a:lvl4pPr>
            <a:lvl5pPr marL="1828800" indent="0">
              <a:buFontTx/>
              <a:buNone/>
              <a:defRPr sz="800">
                <a:solidFill>
                  <a:srgbClr val="437C92"/>
                </a:solidFill>
              </a:defRPr>
            </a:lvl5pPr>
          </a:lstStyle>
          <a:p>
            <a:pPr lvl="0"/>
            <a:r>
              <a:rPr lang="nl-NL" dirty="0" err="1" smtClean="0"/>
              <a:t>Optional</a:t>
            </a:r>
            <a:r>
              <a:rPr lang="nl-NL" dirty="0" smtClean="0"/>
              <a:t> –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presentation</a:t>
            </a:r>
            <a:r>
              <a:rPr lang="nl-NL" dirty="0" smtClean="0"/>
              <a:t> name </a:t>
            </a:r>
            <a:r>
              <a:rPr lang="nl-NL" dirty="0" err="1" smtClean="0"/>
              <a:t>and</a:t>
            </a:r>
            <a:r>
              <a:rPr lang="nl-NL" dirty="0" smtClean="0"/>
              <a:t> date</a:t>
            </a:r>
          </a:p>
        </p:txBody>
      </p:sp>
    </p:spTree>
    <p:extLst>
      <p:ext uri="{BB962C8B-B14F-4D97-AF65-F5344CB8AC3E}">
        <p14:creationId xmlns:p14="http://schemas.microsoft.com/office/powerpoint/2010/main" val="2572892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1143000"/>
            <a:ext cx="8382000" cy="5257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33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28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image" Target="../media/image3.emf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22.jpeg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image" Target="../media/image2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image" Target="../media/image22.jpeg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image" Target="../media/image22.jpeg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18" Type="http://schemas.openxmlformats.org/officeDocument/2006/relationships/slideLayout" Target="../slideLayouts/slideLayout141.xml"/><Relationship Id="rId3" Type="http://schemas.openxmlformats.org/officeDocument/2006/relationships/slideLayout" Target="../slideLayouts/slideLayout126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39.xml"/><Relationship Id="rId20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33.xml"/><Relationship Id="rId19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Relationship Id="rId22" Type="http://schemas.openxmlformats.org/officeDocument/2006/relationships/image" Target="../media/image2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eader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9144000" cy="923925"/>
          </a:xfrm>
          <a:prstGeom prst="rect">
            <a:avLst/>
          </a:prstGeom>
          <a:noFill/>
        </p:spPr>
      </p:pic>
      <p:pic>
        <p:nvPicPr>
          <p:cNvPr id="3082" name="Picture 10" descr="foot1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153150"/>
            <a:ext cx="9144000" cy="7048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52392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874" r:id="rId7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xStyles>
    <p:titleStyle>
      <a:lvl1pPr algn="l" rtl="0" fontAlgn="base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Myriad Pro" pitchFamily="34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Myriad Pro" pitchFamily="34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Myriad Pro" pitchFamily="34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Myriad Pro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Myriad Pro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Myriad Pro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Myriad Pro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>
          <a:solidFill>
            <a:schemeClr val="bg1"/>
          </a:solidFill>
          <a:latin typeface="Myriad Pro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7DA27C83-F25A-433E-9E95-FC29404527FF}" type="datetimeFigureOut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914400"/>
              <a:t>14-1-2016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AEBF997-F99C-4450-B7BA-8F6443997B99}" type="slidenum">
              <a:rPr lang="nl-NL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nl-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766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  <p:sldLayoutId id="2147483718" r:id="rId26"/>
    <p:sldLayoutId id="2147483719" r:id="rId27"/>
    <p:sldLayoutId id="2147483720" r:id="rId28"/>
    <p:sldLayoutId id="2147483721" r:id="rId29"/>
    <p:sldLayoutId id="2147483722" r:id="rId30"/>
    <p:sldLayoutId id="2147483723" r:id="rId31"/>
    <p:sldLayoutId id="2147483724" r:id="rId32"/>
    <p:sldLayoutId id="2147483725" r:id="rId33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0" y="971550"/>
            <a:ext cx="9140825" cy="0"/>
          </a:xfrm>
          <a:prstGeom prst="line">
            <a:avLst/>
          </a:prstGeom>
          <a:noFill/>
          <a:ln w="9525">
            <a:solidFill>
              <a:srgbClr val="E0C398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0" y="6548438"/>
            <a:ext cx="9140825" cy="0"/>
          </a:xfrm>
          <a:prstGeom prst="line">
            <a:avLst/>
          </a:prstGeom>
          <a:noFill/>
          <a:ln w="9525">
            <a:solidFill>
              <a:srgbClr val="E0C398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4" name="Picture 10" descr="FugrologoSmall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9263" y="179388"/>
            <a:ext cx="866775" cy="623887"/>
          </a:xfrm>
          <a:prstGeom prst="rect">
            <a:avLst/>
          </a:prstGeom>
          <a:noFill/>
        </p:spPr>
      </p:pic>
      <p:sp>
        <p:nvSpPr>
          <p:cNvPr id="1036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33375"/>
            <a:ext cx="74898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2954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8" name="Text Box 14"/>
          <p:cNvSpPr txBox="1">
            <a:spLocks noChangeArrowheads="1"/>
          </p:cNvSpPr>
          <p:nvPr/>
        </p:nvSpPr>
        <p:spPr bwMode="auto">
          <a:xfrm>
            <a:off x="7962900" y="6553200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/>
            <a:r>
              <a:rPr lang="en-US" sz="800">
                <a:solidFill>
                  <a:srgbClr val="80561B"/>
                </a:solidFill>
              </a:rPr>
              <a:t>www.fugro.com</a:t>
            </a:r>
          </a:p>
        </p:txBody>
      </p:sp>
    </p:spTree>
    <p:extLst>
      <p:ext uri="{BB962C8B-B14F-4D97-AF65-F5344CB8AC3E}">
        <p14:creationId xmlns:p14="http://schemas.microsoft.com/office/powerpoint/2010/main" val="2737022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8" grpId="0"/>
    </p:bld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0" y="971550"/>
            <a:ext cx="9140825" cy="0"/>
          </a:xfrm>
          <a:prstGeom prst="line">
            <a:avLst/>
          </a:prstGeom>
          <a:noFill/>
          <a:ln w="9525">
            <a:solidFill>
              <a:srgbClr val="E0C398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0" y="6548438"/>
            <a:ext cx="9140825" cy="0"/>
          </a:xfrm>
          <a:prstGeom prst="line">
            <a:avLst/>
          </a:prstGeom>
          <a:noFill/>
          <a:ln w="9525">
            <a:solidFill>
              <a:srgbClr val="E0C398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4" name="Picture 10" descr="FugrologoSmall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9263" y="179388"/>
            <a:ext cx="866775" cy="623887"/>
          </a:xfrm>
          <a:prstGeom prst="rect">
            <a:avLst/>
          </a:prstGeom>
          <a:noFill/>
        </p:spPr>
      </p:pic>
      <p:sp>
        <p:nvSpPr>
          <p:cNvPr id="1036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33375"/>
            <a:ext cx="74898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2954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8" name="Text Box 14"/>
          <p:cNvSpPr txBox="1">
            <a:spLocks noChangeArrowheads="1"/>
          </p:cNvSpPr>
          <p:nvPr/>
        </p:nvSpPr>
        <p:spPr bwMode="auto">
          <a:xfrm>
            <a:off x="7962900" y="6553200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/>
            <a:r>
              <a:rPr lang="en-US" sz="800">
                <a:solidFill>
                  <a:srgbClr val="80561B"/>
                </a:solidFill>
              </a:rPr>
              <a:t>www.fugro.com</a:t>
            </a:r>
          </a:p>
        </p:txBody>
      </p:sp>
    </p:spTree>
    <p:extLst>
      <p:ext uri="{BB962C8B-B14F-4D97-AF65-F5344CB8AC3E}">
        <p14:creationId xmlns:p14="http://schemas.microsoft.com/office/powerpoint/2010/main" val="2695149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8" grpId="0"/>
    </p:bld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0" y="971550"/>
            <a:ext cx="9140825" cy="0"/>
          </a:xfrm>
          <a:prstGeom prst="line">
            <a:avLst/>
          </a:prstGeom>
          <a:noFill/>
          <a:ln w="9525">
            <a:solidFill>
              <a:srgbClr val="E0C398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0" y="6548438"/>
            <a:ext cx="9140825" cy="0"/>
          </a:xfrm>
          <a:prstGeom prst="line">
            <a:avLst/>
          </a:prstGeom>
          <a:noFill/>
          <a:ln w="9525">
            <a:solidFill>
              <a:srgbClr val="E0C398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4" name="Picture 10" descr="FugrologoSmall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9263" y="179388"/>
            <a:ext cx="866775" cy="623887"/>
          </a:xfrm>
          <a:prstGeom prst="rect">
            <a:avLst/>
          </a:prstGeom>
          <a:noFill/>
        </p:spPr>
      </p:pic>
      <p:sp>
        <p:nvSpPr>
          <p:cNvPr id="1036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33375"/>
            <a:ext cx="74898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2954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8" name="Text Box 14"/>
          <p:cNvSpPr txBox="1">
            <a:spLocks noChangeArrowheads="1"/>
          </p:cNvSpPr>
          <p:nvPr/>
        </p:nvSpPr>
        <p:spPr bwMode="auto">
          <a:xfrm>
            <a:off x="7962900" y="6553200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/>
            <a:r>
              <a:rPr lang="en-US" sz="800">
                <a:solidFill>
                  <a:srgbClr val="80561B"/>
                </a:solidFill>
              </a:rPr>
              <a:t>www.fugro.com</a:t>
            </a:r>
          </a:p>
        </p:txBody>
      </p:sp>
    </p:spTree>
    <p:extLst>
      <p:ext uri="{BB962C8B-B14F-4D97-AF65-F5344CB8AC3E}">
        <p14:creationId xmlns:p14="http://schemas.microsoft.com/office/powerpoint/2010/main" val="1585728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  <p:sldLayoutId id="2147483826" r:id="rId17"/>
    <p:sldLayoutId id="2147483827" r:id="rId18"/>
    <p:sldLayoutId id="2147483828" r:id="rId19"/>
    <p:sldLayoutId id="2147483829" r:id="rId20"/>
    <p:sldLayoutId id="2147483830" r:id="rId21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8" grpId="0"/>
    </p:bld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0" y="971550"/>
            <a:ext cx="9140825" cy="0"/>
          </a:xfrm>
          <a:prstGeom prst="line">
            <a:avLst/>
          </a:prstGeom>
          <a:noFill/>
          <a:ln w="9525">
            <a:solidFill>
              <a:srgbClr val="E0C398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0" y="6548438"/>
            <a:ext cx="9140825" cy="0"/>
          </a:xfrm>
          <a:prstGeom prst="line">
            <a:avLst/>
          </a:prstGeom>
          <a:noFill/>
          <a:ln w="9525">
            <a:solidFill>
              <a:srgbClr val="E0C398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4" name="Picture 10" descr="FugrologoSmall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9263" y="179388"/>
            <a:ext cx="866775" cy="623887"/>
          </a:xfrm>
          <a:prstGeom prst="rect">
            <a:avLst/>
          </a:prstGeom>
          <a:noFill/>
        </p:spPr>
      </p:pic>
      <p:sp>
        <p:nvSpPr>
          <p:cNvPr id="1036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33375"/>
            <a:ext cx="74898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2954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8" name="Text Box 14"/>
          <p:cNvSpPr txBox="1">
            <a:spLocks noChangeArrowheads="1"/>
          </p:cNvSpPr>
          <p:nvPr/>
        </p:nvSpPr>
        <p:spPr bwMode="auto">
          <a:xfrm>
            <a:off x="7962900" y="6553200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/>
            <a:r>
              <a:rPr lang="en-US" sz="800">
                <a:solidFill>
                  <a:srgbClr val="80561B"/>
                </a:solidFill>
              </a:rPr>
              <a:t>www.fugro.com</a:t>
            </a:r>
          </a:p>
        </p:txBody>
      </p:sp>
    </p:spTree>
    <p:extLst>
      <p:ext uri="{BB962C8B-B14F-4D97-AF65-F5344CB8AC3E}">
        <p14:creationId xmlns:p14="http://schemas.microsoft.com/office/powerpoint/2010/main" val="1562629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  <p:sldLayoutId id="2147483851" r:id="rId20"/>
    <p:sldLayoutId id="2147483852" r:id="rId21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8" grpId="0"/>
    </p:bld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0" y="971550"/>
            <a:ext cx="9140825" cy="0"/>
          </a:xfrm>
          <a:prstGeom prst="line">
            <a:avLst/>
          </a:prstGeom>
          <a:noFill/>
          <a:ln w="9525">
            <a:solidFill>
              <a:srgbClr val="E0C398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0" y="6548438"/>
            <a:ext cx="9140825" cy="0"/>
          </a:xfrm>
          <a:prstGeom prst="line">
            <a:avLst/>
          </a:prstGeom>
          <a:noFill/>
          <a:ln w="9525">
            <a:solidFill>
              <a:srgbClr val="E0C398"/>
            </a:solidFill>
            <a:round/>
            <a:headEnd/>
            <a:tailEnd/>
          </a:ln>
        </p:spPr>
        <p:txBody>
          <a:bodyPr wrap="none" anchor="ctr"/>
          <a:lstStyle/>
          <a:p>
            <a:pPr defTabSz="914400"/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4" name="Picture 10" descr="FugrologoSmall">
            <a:hlinkClick r:id="" action="ppaction://noaction"/>
          </p:cNvPr>
          <p:cNvPicPr>
            <a:picLocks noChangeAspect="1" noChangeArrowheads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9263" y="179388"/>
            <a:ext cx="866775" cy="623887"/>
          </a:xfrm>
          <a:prstGeom prst="rect">
            <a:avLst/>
          </a:prstGeom>
          <a:noFill/>
        </p:spPr>
      </p:pic>
      <p:sp>
        <p:nvSpPr>
          <p:cNvPr id="1036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333375"/>
            <a:ext cx="7489825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2954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8" name="Text Box 14"/>
          <p:cNvSpPr txBox="1">
            <a:spLocks noChangeArrowheads="1"/>
          </p:cNvSpPr>
          <p:nvPr/>
        </p:nvSpPr>
        <p:spPr bwMode="auto">
          <a:xfrm>
            <a:off x="7962900" y="6553200"/>
            <a:ext cx="1109663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defTabSz="914400"/>
            <a:r>
              <a:rPr lang="en-US" sz="800">
                <a:solidFill>
                  <a:srgbClr val="80561B"/>
                </a:solidFill>
              </a:rPr>
              <a:t>www.fugro.com</a:t>
            </a:r>
          </a:p>
        </p:txBody>
      </p:sp>
    </p:spTree>
    <p:extLst>
      <p:ext uri="{BB962C8B-B14F-4D97-AF65-F5344CB8AC3E}">
        <p14:creationId xmlns:p14="http://schemas.microsoft.com/office/powerpoint/2010/main" val="1640648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  <p:sldLayoutId id="2147483867" r:id="rId14"/>
    <p:sldLayoutId id="2147483868" r:id="rId15"/>
    <p:sldLayoutId id="2147483869" r:id="rId16"/>
    <p:sldLayoutId id="2147483870" r:id="rId17"/>
    <p:sldLayoutId id="2147483871" r:id="rId18"/>
    <p:sldLayoutId id="2147483872" r:id="rId19"/>
    <p:sldLayoutId id="2147483873" r:id="rId20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8" grpId="0"/>
    </p:bld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ＭＳ Ｐゴシック" pitchFamily="28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663300"/>
        </a:buClr>
        <a:buFont typeface="Arial" charset="0"/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28.png"/><Relationship Id="rId5" Type="http://schemas.openxmlformats.org/officeDocument/2006/relationships/image" Target="../media/image51.png"/><Relationship Id="rId4" Type="http://schemas.openxmlformats.org/officeDocument/2006/relationships/image" Target="../media/image5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8.png"/><Relationship Id="rId4" Type="http://schemas.openxmlformats.org/officeDocument/2006/relationships/image" Target="../media/image5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28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28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7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9.jpe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10" Type="http://schemas.openxmlformats.org/officeDocument/2006/relationships/image" Target="../media/image36.emf"/><Relationship Id="rId4" Type="http://schemas.openxmlformats.org/officeDocument/2006/relationships/image" Target="../media/image30.png"/><Relationship Id="rId9" Type="http://schemas.openxmlformats.org/officeDocument/2006/relationships/image" Target="../media/image3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0" y="838200"/>
            <a:ext cx="2590800" cy="3381375"/>
          </a:xfrm>
        </p:spPr>
        <p:txBody>
          <a:bodyPr anchor="t">
            <a:normAutofit/>
          </a:bodyPr>
          <a:lstStyle/>
          <a:p>
            <a:r>
              <a:rPr lang="en-US" sz="2000" b="1" dirty="0" smtClean="0"/>
              <a:t>REMOTE SURVEY SOLUTIONS - AN INTEGRATED ACTIVE / PASSIVE APPROACH</a:t>
            </a:r>
            <a:endParaRPr lang="en-US" sz="200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sz="quarter" idx="11"/>
          </p:nvPr>
        </p:nvSpPr>
        <p:spPr>
          <a:xfrm>
            <a:off x="152401" y="3867150"/>
            <a:ext cx="2667000" cy="2609850"/>
          </a:xfrm>
        </p:spPr>
        <p:txBody>
          <a:bodyPr/>
          <a:lstStyle/>
          <a:p>
            <a:pPr eaLnBrk="1" hangingPunct="1">
              <a:buNone/>
            </a:pPr>
            <a:r>
              <a:rPr lang="en-US" sz="1800" dirty="0" smtClean="0">
                <a:solidFill>
                  <a:schemeClr val="bg1"/>
                </a:solidFill>
              </a:rPr>
              <a:t>FUGRO-EOMAP:</a:t>
            </a:r>
          </a:p>
          <a:p>
            <a:pPr eaLnBrk="1" hangingPunct="1">
              <a:buNone/>
            </a:pPr>
            <a:r>
              <a:rPr lang="en-US" sz="1600" dirty="0" smtClean="0">
                <a:solidFill>
                  <a:schemeClr val="bg1"/>
                </a:solidFill>
              </a:rPr>
              <a:t>Thomas Heege</a:t>
            </a:r>
          </a:p>
          <a:p>
            <a:pPr eaLnBrk="1" hangingPunct="1">
              <a:buNone/>
            </a:pPr>
            <a:r>
              <a:rPr lang="en-US" sz="1600" dirty="0" smtClean="0">
                <a:solidFill>
                  <a:schemeClr val="bg1"/>
                </a:solidFill>
              </a:rPr>
              <a:t>Matt Bergin</a:t>
            </a:r>
          </a:p>
          <a:p>
            <a:pPr eaLnBrk="1" hangingPunct="1">
              <a:buNone/>
            </a:pPr>
            <a:r>
              <a:rPr lang="en-US" sz="1600" dirty="0" smtClean="0">
                <a:solidFill>
                  <a:schemeClr val="bg1"/>
                </a:solidFill>
              </a:rPr>
              <a:t>Don Ventura</a:t>
            </a:r>
          </a:p>
          <a:p>
            <a:pPr marL="0" indent="0">
              <a:buNone/>
            </a:pPr>
            <a:endParaRPr lang="en-US" sz="1200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200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1200" dirty="0" smtClean="0">
                <a:solidFill>
                  <a:schemeClr val="bg1"/>
                </a:solidFill>
              </a:rPr>
              <a:t>IHO-MACHC, Antigua </a:t>
            </a:r>
          </a:p>
          <a:p>
            <a:pPr marL="0" indent="0">
              <a:buNone/>
            </a:pPr>
            <a:r>
              <a:rPr lang="en-US" sz="1200" dirty="0" smtClean="0">
                <a:solidFill>
                  <a:schemeClr val="bg1"/>
                </a:solidFill>
              </a:rPr>
              <a:t>11 December 2015</a:t>
            </a:r>
          </a:p>
          <a:p>
            <a:pPr eaLnBrk="1" hangingPunct="1">
              <a:buNone/>
            </a:pPr>
            <a:endParaRPr lang="en-US" sz="1800" dirty="0" smtClean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00950" y="6023015"/>
            <a:ext cx="1405890" cy="45398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4939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Mean Differencing Surface and Profiles</a:t>
            </a:r>
            <a:endParaRPr lang="en-US" b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1579141" y="1052736"/>
            <a:ext cx="5985718" cy="5418780"/>
            <a:chOff x="1579141" y="1052736"/>
            <a:chExt cx="5985718" cy="5418780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79141" y="1052736"/>
              <a:ext cx="5985718" cy="54187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" name="Decagon 4"/>
            <p:cNvSpPr/>
            <p:nvPr/>
          </p:nvSpPr>
          <p:spPr bwMode="auto">
            <a:xfrm>
              <a:off x="2816369" y="4509120"/>
              <a:ext cx="288032" cy="266328"/>
            </a:xfrm>
            <a:prstGeom prst="decagon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7" name="Decagon 6"/>
            <p:cNvSpPr/>
            <p:nvPr/>
          </p:nvSpPr>
          <p:spPr bwMode="auto">
            <a:xfrm>
              <a:off x="2627784" y="3847728"/>
              <a:ext cx="288032" cy="266328"/>
            </a:xfrm>
            <a:prstGeom prst="decagon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8" name="Decagon 7"/>
            <p:cNvSpPr/>
            <p:nvPr/>
          </p:nvSpPr>
          <p:spPr bwMode="auto">
            <a:xfrm>
              <a:off x="3491880" y="2863788"/>
              <a:ext cx="288032" cy="266328"/>
            </a:xfrm>
            <a:prstGeom prst="decagon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9" name="Decagon 8"/>
            <p:cNvSpPr/>
            <p:nvPr/>
          </p:nvSpPr>
          <p:spPr bwMode="auto">
            <a:xfrm>
              <a:off x="4080089" y="2287724"/>
              <a:ext cx="288032" cy="266328"/>
            </a:xfrm>
            <a:prstGeom prst="decagon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10" name="Decagon 9"/>
            <p:cNvSpPr/>
            <p:nvPr/>
          </p:nvSpPr>
          <p:spPr bwMode="auto">
            <a:xfrm>
              <a:off x="4224105" y="3951637"/>
              <a:ext cx="288032" cy="266328"/>
            </a:xfrm>
            <a:prstGeom prst="decagon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11" name="Decagon 10"/>
            <p:cNvSpPr/>
            <p:nvPr/>
          </p:nvSpPr>
          <p:spPr bwMode="auto">
            <a:xfrm>
              <a:off x="5580112" y="3449843"/>
              <a:ext cx="288032" cy="266328"/>
            </a:xfrm>
            <a:prstGeom prst="decagon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12" name="Decagon 11"/>
            <p:cNvSpPr/>
            <p:nvPr/>
          </p:nvSpPr>
          <p:spPr bwMode="auto">
            <a:xfrm>
              <a:off x="5580112" y="2420888"/>
              <a:ext cx="288032" cy="266328"/>
            </a:xfrm>
            <a:prstGeom prst="decagon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13" name="Decagon 12"/>
            <p:cNvSpPr/>
            <p:nvPr/>
          </p:nvSpPr>
          <p:spPr bwMode="auto">
            <a:xfrm>
              <a:off x="6954471" y="3667496"/>
              <a:ext cx="288032" cy="266328"/>
            </a:xfrm>
            <a:prstGeom prst="decagon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14" name="Decagon 13"/>
            <p:cNvSpPr/>
            <p:nvPr/>
          </p:nvSpPr>
          <p:spPr bwMode="auto">
            <a:xfrm>
              <a:off x="6732240" y="2996952"/>
              <a:ext cx="288032" cy="266328"/>
            </a:xfrm>
            <a:prstGeom prst="decagon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000000"/>
                  </a:solidFill>
                </a:rPr>
                <a:t>9</a:t>
              </a:r>
            </a:p>
          </p:txBody>
        </p:sp>
        <p:sp>
          <p:nvSpPr>
            <p:cNvPr id="15" name="Decagon 14"/>
            <p:cNvSpPr/>
            <p:nvPr/>
          </p:nvSpPr>
          <p:spPr bwMode="auto">
            <a:xfrm>
              <a:off x="7215822" y="1603269"/>
              <a:ext cx="288032" cy="266328"/>
            </a:xfrm>
            <a:prstGeom prst="decagon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000000"/>
                  </a:solidFill>
                </a:rPr>
                <a:t>10</a:t>
              </a:r>
            </a:p>
          </p:txBody>
        </p:sp>
      </p:grp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3330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1583531" y="1772444"/>
            <a:ext cx="5829300" cy="3725862"/>
            <a:chOff x="1583531" y="1772444"/>
            <a:chExt cx="5829300" cy="3725862"/>
          </a:xfrm>
        </p:grpSpPr>
        <p:grpSp>
          <p:nvGrpSpPr>
            <p:cNvPr id="3" name="Group 2"/>
            <p:cNvGrpSpPr/>
            <p:nvPr/>
          </p:nvGrpSpPr>
          <p:grpSpPr>
            <a:xfrm>
              <a:off x="1583531" y="1772444"/>
              <a:ext cx="5829300" cy="3725862"/>
              <a:chOff x="1619250" y="1700213"/>
              <a:chExt cx="5829300" cy="3725862"/>
            </a:xfrm>
          </p:grpSpPr>
          <p:pic>
            <p:nvPicPr>
              <p:cNvPr id="6146" name="Picture 2"/>
              <p:cNvPicPr>
                <a:picLocks noChangeAspect="1" noChangeArrowheads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19250" y="1700213"/>
                <a:ext cx="5829300" cy="372586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6148" name="Picture 4"/>
              <p:cNvPicPr>
                <a:picLocks noChangeAspect="1" noChangeArrowheads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91495" y="3284984"/>
                <a:ext cx="2286000" cy="191452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7" name="Group 4"/>
            <p:cNvGrpSpPr>
              <a:grpSpLocks/>
            </p:cNvGrpSpPr>
            <p:nvPr/>
          </p:nvGrpSpPr>
          <p:grpSpPr bwMode="auto">
            <a:xfrm>
              <a:off x="4932040" y="4305460"/>
              <a:ext cx="1495425" cy="954087"/>
              <a:chOff x="5190" y="7417"/>
              <a:chExt cx="2356" cy="1502"/>
            </a:xfrm>
          </p:grpSpPr>
          <p:sp>
            <p:nvSpPr>
              <p:cNvPr id="8" name="Text Box 5"/>
              <p:cNvSpPr txBox="1">
                <a:spLocks noChangeArrowheads="1"/>
              </p:cNvSpPr>
              <p:nvPr/>
            </p:nvSpPr>
            <p:spPr bwMode="auto">
              <a:xfrm>
                <a:off x="5190" y="7417"/>
                <a:ext cx="2356" cy="150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100" dirty="0" smtClean="0">
                    <a:solidFill>
                      <a:srgbClr val="000000"/>
                    </a:solidFill>
                    <a:latin typeface="Calibri" pitchFamily="34" charset="0"/>
                    <a:cs typeface="Arial" pitchFamily="34" charset="0"/>
                  </a:rPr>
                  <a:t>Grid Unit Interval (m):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100" dirty="0" smtClean="0">
                    <a:solidFill>
                      <a:srgbClr val="000000"/>
                    </a:solidFill>
                    <a:latin typeface="Calibri" pitchFamily="34" charset="0"/>
                    <a:cs typeface="Arial" pitchFamily="34" charset="0"/>
                  </a:rPr>
                  <a:t>X = 10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100" dirty="0" smtClean="0">
                    <a:solidFill>
                      <a:srgbClr val="000000"/>
                    </a:solidFill>
                    <a:latin typeface="Calibri" pitchFamily="34" charset="0"/>
                    <a:cs typeface="Arial" pitchFamily="34" charset="0"/>
                  </a:rPr>
                  <a:t>Y = 1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100" dirty="0" smtClean="0">
                    <a:solidFill>
                      <a:srgbClr val="000000"/>
                    </a:solidFill>
                    <a:latin typeface="Calibri" pitchFamily="34" charset="0"/>
                    <a:cs typeface="Arial" pitchFamily="34" charset="0"/>
                  </a:rPr>
                  <a:t>    = SDB</a:t>
                </a:r>
              </a:p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en-US" sz="1100" dirty="0" smtClean="0">
                    <a:solidFill>
                      <a:srgbClr val="000000"/>
                    </a:solidFill>
                    <a:latin typeface="Calibri" pitchFamily="34" charset="0"/>
                    <a:cs typeface="Arial" pitchFamily="34" charset="0"/>
                  </a:rPr>
                  <a:t>    = ALB</a:t>
                </a:r>
                <a:endParaRPr lang="en-US" altLang="en-US" dirty="0" smtClean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9" name="Rectangle 6"/>
              <p:cNvSpPr>
                <a:spLocks noChangeArrowheads="1"/>
              </p:cNvSpPr>
              <p:nvPr/>
            </p:nvSpPr>
            <p:spPr bwMode="auto">
              <a:xfrm>
                <a:off x="5320" y="8396"/>
                <a:ext cx="143" cy="144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Rectangle 7"/>
              <p:cNvSpPr>
                <a:spLocks noChangeArrowheads="1"/>
              </p:cNvSpPr>
              <p:nvPr/>
            </p:nvSpPr>
            <p:spPr bwMode="auto">
              <a:xfrm>
                <a:off x="5320" y="8636"/>
                <a:ext cx="143" cy="144"/>
              </a:xfrm>
              <a:prstGeom prst="rect">
                <a:avLst/>
              </a:prstGeom>
              <a:solidFill>
                <a:srgbClr val="92D050"/>
              </a:solidFill>
              <a:ln w="9525">
                <a:solidFill>
                  <a:srgbClr val="92D05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1469" y="1844675"/>
            <a:ext cx="5813425" cy="3581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Profile 5</a:t>
            </a:r>
            <a:endParaRPr lang="en-US" b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05918" y="1569325"/>
            <a:ext cx="3984526" cy="413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47791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61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43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Torres Strait, </a:t>
            </a:r>
            <a:r>
              <a:rPr lang="en-US" b="0" dirty="0" smtClean="0"/>
              <a:t>Australia</a:t>
            </a:r>
            <a:endParaRPr lang="en-US" b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800" y="1066800"/>
            <a:ext cx="7290400" cy="533399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1999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Mean Differencing Surface and Profiles</a:t>
            </a:r>
            <a:endParaRPr lang="en-US" b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6176" y="1197341"/>
            <a:ext cx="2425700" cy="2420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6" name="Group 15"/>
          <p:cNvGrpSpPr/>
          <p:nvPr/>
        </p:nvGrpSpPr>
        <p:grpSpPr>
          <a:xfrm>
            <a:off x="1043608" y="1184711"/>
            <a:ext cx="4968974" cy="5027004"/>
            <a:chOff x="1043608" y="1184711"/>
            <a:chExt cx="4968974" cy="5027004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608" y="1184711"/>
              <a:ext cx="4968974" cy="502700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1640" y="2434810"/>
              <a:ext cx="1017587" cy="123825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55707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Profile 6</a:t>
            </a:r>
            <a:endParaRPr lang="en-US" b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1600200" y="1538288"/>
            <a:ext cx="5943600" cy="3786187"/>
            <a:chOff x="1600200" y="1538288"/>
            <a:chExt cx="5943600" cy="3786187"/>
          </a:xfrm>
        </p:grpSpPr>
        <p:pic>
          <p:nvPicPr>
            <p:cNvPr id="7172" name="Picture 4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0200" y="1538288"/>
              <a:ext cx="5943600" cy="37861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173" name="Picture 5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2120" y="1611313"/>
              <a:ext cx="1779587" cy="1358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" name="Group 2"/>
          <p:cNvGrpSpPr/>
          <p:nvPr/>
        </p:nvGrpSpPr>
        <p:grpSpPr>
          <a:xfrm>
            <a:off x="1600200" y="1611313"/>
            <a:ext cx="5943600" cy="3640137"/>
            <a:chOff x="1600200" y="1611313"/>
            <a:chExt cx="5943600" cy="3640137"/>
          </a:xfrm>
        </p:grpSpPr>
        <p:pic>
          <p:nvPicPr>
            <p:cNvPr id="7170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0200" y="1611313"/>
              <a:ext cx="5943600" cy="364013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171" name="Picture 3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1720" y="4509120"/>
              <a:ext cx="1182687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7174" name="Picture 6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06700" y="2270125"/>
            <a:ext cx="3530600" cy="232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7752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Profile 8</a:t>
            </a:r>
            <a:endParaRPr lang="en-US" b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1600200" y="1617663"/>
            <a:ext cx="5943600" cy="3627437"/>
            <a:chOff x="1600200" y="1617663"/>
            <a:chExt cx="5943600" cy="3627437"/>
          </a:xfrm>
        </p:grpSpPr>
        <p:pic>
          <p:nvPicPr>
            <p:cNvPr id="9218" name="Picture 2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0200" y="1617663"/>
              <a:ext cx="5943600" cy="362743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219" name="Picture 3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688327"/>
              <a:ext cx="1182687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4" name="Group 3"/>
          <p:cNvGrpSpPr/>
          <p:nvPr/>
        </p:nvGrpSpPr>
        <p:grpSpPr>
          <a:xfrm>
            <a:off x="1600200" y="1955800"/>
            <a:ext cx="5943600" cy="2951163"/>
            <a:chOff x="1600200" y="1955800"/>
            <a:chExt cx="5943600" cy="2951163"/>
          </a:xfrm>
        </p:grpSpPr>
        <p:pic>
          <p:nvPicPr>
            <p:cNvPr id="9220" name="Picture 4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0200" y="1955800"/>
              <a:ext cx="5943600" cy="2951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221" name="Picture 5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1680" y="2016290"/>
              <a:ext cx="2219325" cy="13176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9222" name="Picture 6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44775" y="2422525"/>
            <a:ext cx="3852863" cy="2017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9525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92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SDB Utility – Project Examples</a:t>
            </a:r>
            <a:endParaRPr lang="en-US" b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US" sz="1800" dirty="0" smtClean="0"/>
              <a:t>Two examples of projects where SDB has been successfully applied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Example 1 - UKHO (New Chart of Southern Antigua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Example </a:t>
            </a:r>
            <a:r>
              <a:rPr lang="en-US" sz="1800" dirty="0"/>
              <a:t>2</a:t>
            </a:r>
            <a:r>
              <a:rPr lang="en-US" sz="1800" dirty="0" smtClean="0"/>
              <a:t> - Shell (Qatar – Seismic Survey Support)</a:t>
            </a:r>
            <a:endParaRPr lang="en-US" sz="1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5384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7129" y="1284191"/>
            <a:ext cx="3215854" cy="3600000"/>
          </a:xfrm>
          <a:prstGeom prst="rect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711672" y="1284190"/>
            <a:ext cx="5025641" cy="3600000"/>
          </a:xfrm>
          <a:prstGeom prst="rect">
            <a:avLst/>
          </a:prstGeom>
          <a:noFill/>
          <a:ln w="9525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27642" y="16168"/>
            <a:ext cx="91440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ts val="400"/>
              </a:spcBef>
              <a:spcAft>
                <a:spcPct val="0"/>
              </a:spcAft>
              <a:defRPr/>
            </a:pPr>
            <a:r>
              <a:rPr lang="de-DE" sz="3200" kern="0" dirty="0" smtClean="0">
                <a:solidFill>
                  <a:srgbClr val="FFFFFF"/>
                </a:solidFill>
                <a:latin typeface="Calibri" pitchFamily="34" charset="0"/>
              </a:rPr>
              <a:t>BA2066 Southern Antigua</a:t>
            </a:r>
            <a:r>
              <a:rPr lang="de-DE" sz="3200" kern="0" dirty="0">
                <a:solidFill>
                  <a:srgbClr val="FFFFFF"/>
                </a:solidFill>
                <a:latin typeface="Calibri" pitchFamily="34" charset="0"/>
              </a:rPr>
              <a:t/>
            </a:r>
            <a:br>
              <a:rPr lang="de-DE" sz="3200" kern="0" dirty="0">
                <a:solidFill>
                  <a:srgbClr val="FFFFFF"/>
                </a:solidFill>
                <a:latin typeface="Calibri" pitchFamily="34" charset="0"/>
              </a:rPr>
            </a:br>
            <a:r>
              <a:rPr lang="de-DE" sz="2000" kern="0" dirty="0" smtClean="0">
                <a:solidFill>
                  <a:srgbClr val="FFFFFF"/>
                </a:solidFill>
                <a:latin typeface="Calibri" pitchFamily="34" charset="0"/>
              </a:rPr>
              <a:t>SDB </a:t>
            </a:r>
            <a:r>
              <a:rPr lang="de-DE" sz="2000" kern="0" dirty="0" err="1" smtClean="0">
                <a:solidFill>
                  <a:srgbClr val="FFFFFF"/>
                </a:solidFill>
                <a:latin typeface="Calibri" pitchFamily="34" charset="0"/>
              </a:rPr>
              <a:t>for</a:t>
            </a:r>
            <a:r>
              <a:rPr lang="de-DE" sz="2000" kern="0" dirty="0" smtClean="0">
                <a:solidFill>
                  <a:srgbClr val="FFFFFF"/>
                </a:solidFill>
                <a:latin typeface="Calibri" pitchFamily="34" charset="0"/>
              </a:rPr>
              <a:t> </a:t>
            </a:r>
            <a:r>
              <a:rPr lang="de-DE" sz="2000" kern="0" dirty="0" err="1" smtClean="0">
                <a:solidFill>
                  <a:srgbClr val="FFFFFF"/>
                </a:solidFill>
                <a:latin typeface="Calibri" pitchFamily="34" charset="0"/>
              </a:rPr>
              <a:t>nautical</a:t>
            </a:r>
            <a:r>
              <a:rPr lang="de-DE" sz="2000" kern="0" dirty="0" smtClean="0">
                <a:solidFill>
                  <a:srgbClr val="FFFFFF"/>
                </a:solidFill>
                <a:latin typeface="Calibri" pitchFamily="34" charset="0"/>
              </a:rPr>
              <a:t> </a:t>
            </a:r>
            <a:r>
              <a:rPr lang="de-DE" sz="2000" kern="0" dirty="0" err="1" smtClean="0">
                <a:solidFill>
                  <a:srgbClr val="FFFFFF"/>
                </a:solidFill>
                <a:latin typeface="Calibri" pitchFamily="34" charset="0"/>
              </a:rPr>
              <a:t>charts</a:t>
            </a:r>
            <a:endParaRPr lang="de-DE" sz="3200" kern="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70965" y="2250138"/>
            <a:ext cx="2599764" cy="17929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177553" y="2250138"/>
            <a:ext cx="1111624" cy="103094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sz="half" idx="1"/>
          </p:nvPr>
        </p:nvSpPr>
        <p:spPr>
          <a:xfrm>
            <a:off x="251520" y="5056093"/>
            <a:ext cx="8485793" cy="792088"/>
          </a:xfrm>
          <a:solidFill>
            <a:schemeClr val="bg1"/>
          </a:solidFill>
        </p:spPr>
        <p:txBody>
          <a:bodyPr/>
          <a:lstStyle/>
          <a:p>
            <a:pPr marL="0" indent="0">
              <a:buNone/>
            </a:pPr>
            <a:r>
              <a:rPr lang="en-US" sz="1600" dirty="0" smtClean="0">
                <a:latin typeface="Calibri" pitchFamily="34" charset="0"/>
              </a:rPr>
              <a:t>EOMAPs SDB product competed against three other methods from other service providers and was used in the BA2066 chart, the first UKHO chart which includes SDB data.  </a:t>
            </a:r>
            <a:endParaRPr lang="en-US" sz="1600" b="1" dirty="0" smtClean="0">
              <a:latin typeface="Calibri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254374" y="5645585"/>
            <a:ext cx="56741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</a:rPr>
              <a:t>See also the UKHO session at the shallow water conference 2015:</a:t>
            </a:r>
            <a:br>
              <a:rPr lang="en-US" sz="1200" dirty="0" smtClean="0">
                <a:solidFill>
                  <a:srgbClr val="000000"/>
                </a:solidFill>
                <a:latin typeface="Calibri" pitchFamily="34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Calibri" pitchFamily="34" charset="0"/>
              </a:rPr>
              <a:t>http://www.shallowsurvey2015.org/presentations/SS2015_Session05_Talk1_UKHO.pdf</a:t>
            </a:r>
            <a:endParaRPr lang="de-DE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110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3"/>
          <p:cNvSpPr txBox="1">
            <a:spLocks/>
          </p:cNvSpPr>
          <p:nvPr/>
        </p:nvSpPr>
        <p:spPr bwMode="auto">
          <a:xfrm>
            <a:off x="179512" y="981075"/>
            <a:ext cx="8281285" cy="345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50" tIns="45673" rIns="91350" bIns="45673"/>
          <a:lstStyle/>
          <a:p>
            <a:pPr>
              <a:spcBef>
                <a:spcPct val="20000"/>
              </a:spcBef>
              <a:tabLst>
                <a:tab pos="1168400" algn="l"/>
              </a:tabLst>
              <a:defRPr/>
            </a:pPr>
            <a:r>
              <a:rPr lang="en-US" sz="2000" b="1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Client: </a:t>
            </a:r>
            <a:r>
              <a:rPr lang="en-US" sz="2000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	</a:t>
            </a:r>
            <a:r>
              <a:rPr lang="en-US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Qatar Shell GTL limited </a:t>
            </a:r>
          </a:p>
          <a:p>
            <a:pPr>
              <a:spcBef>
                <a:spcPct val="20000"/>
              </a:spcBef>
              <a:tabLst>
                <a:tab pos="1168400" algn="l"/>
              </a:tabLst>
              <a:defRPr/>
            </a:pPr>
            <a:r>
              <a:rPr lang="en-US" sz="2000" b="1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Challenge</a:t>
            </a:r>
            <a:r>
              <a:rPr lang="en-US" sz="2000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: 	</a:t>
            </a:r>
            <a:r>
              <a:rPr lang="en-US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Fast bathymetry survey to support seismic programs 740 </a:t>
            </a:r>
            <a:r>
              <a:rPr lang="en-US" dirty="0" err="1" smtClean="0">
                <a:solidFill>
                  <a:srgbClr val="262626"/>
                </a:solidFill>
                <a:latin typeface="Calibri Light" panose="020F0302020204030204" pitchFamily="34" charset="0"/>
              </a:rPr>
              <a:t>sqkm</a:t>
            </a:r>
            <a:r>
              <a:rPr lang="en-US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 offshore area to be mapped within 2 weeks.</a:t>
            </a:r>
          </a:p>
          <a:p>
            <a:pPr>
              <a:spcBef>
                <a:spcPct val="20000"/>
              </a:spcBef>
              <a:tabLst>
                <a:tab pos="1168400" algn="l"/>
              </a:tabLst>
              <a:defRPr/>
            </a:pPr>
            <a:r>
              <a:rPr lang="en-US" sz="2000" b="1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Solution and benefits:</a:t>
            </a:r>
            <a:r>
              <a:rPr lang="en-US" sz="2000" dirty="0">
                <a:solidFill>
                  <a:srgbClr val="262626"/>
                </a:solidFill>
                <a:latin typeface="Calibri Light" panose="020F0302020204030204" pitchFamily="34" charset="0"/>
              </a:rPr>
              <a:t>	</a:t>
            </a:r>
            <a:endParaRPr lang="en-US" sz="2000" dirty="0" smtClean="0">
              <a:solidFill>
                <a:srgbClr val="262626"/>
              </a:solidFill>
              <a:latin typeface="Calibri Light" panose="020F0302020204030204" pitchFamily="34" charset="0"/>
            </a:endParaRPr>
          </a:p>
          <a:p>
            <a:pPr marL="342554" indent="-342554">
              <a:spcBef>
                <a:spcPct val="20000"/>
              </a:spcBef>
              <a:buFont typeface="Courier New" pitchFamily="49" charset="0"/>
              <a:buChar char="o"/>
              <a:tabLst>
                <a:tab pos="1168400" algn="l"/>
              </a:tabLst>
              <a:defRPr/>
            </a:pPr>
            <a:r>
              <a:rPr lang="en-GB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EOMAP physics based processing using Worldview-2 satellite data, generating a large area bathymetry map with excellent agreement to a multi-beam data set, which was limited to a single, localized area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tabLst>
                <a:tab pos="1168400" algn="l"/>
              </a:tabLst>
              <a:defRPr/>
            </a:pPr>
            <a:r>
              <a:rPr lang="en-GB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Significant cost savings &gt; 1 Mill USD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tabLst>
                <a:tab pos="1168400" algn="l"/>
              </a:tabLst>
              <a:defRPr/>
            </a:pPr>
            <a:r>
              <a:rPr lang="en-GB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Project schedule efficiently supported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tabLst>
                <a:tab pos="1168400" algn="l"/>
              </a:tabLst>
              <a:defRPr/>
            </a:pPr>
            <a:r>
              <a:rPr lang="en-GB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HSE risks mitigated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tabLst>
                <a:tab pos="1168400" algn="l"/>
              </a:tabLst>
              <a:defRPr/>
            </a:pPr>
            <a:r>
              <a:rPr lang="en-GB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Recognized as key technology to aid </a:t>
            </a:r>
          </a:p>
          <a:p>
            <a:pPr>
              <a:spcBef>
                <a:spcPct val="20000"/>
              </a:spcBef>
              <a:tabLst>
                <a:tab pos="1168400" algn="l"/>
              </a:tabLst>
              <a:defRPr/>
            </a:pPr>
            <a:r>
              <a:rPr lang="en-GB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      the planning and preparation </a:t>
            </a:r>
          </a:p>
          <a:p>
            <a:pPr>
              <a:spcBef>
                <a:spcPct val="20000"/>
              </a:spcBef>
              <a:tabLst>
                <a:tab pos="1168400" algn="l"/>
              </a:tabLst>
              <a:defRPr/>
            </a:pPr>
            <a:r>
              <a:rPr lang="en-GB" dirty="0">
                <a:solidFill>
                  <a:srgbClr val="262626"/>
                </a:solidFill>
                <a:latin typeface="Calibri Light" panose="020F0302020204030204" pitchFamily="34" charset="0"/>
              </a:rPr>
              <a:t> </a:t>
            </a:r>
            <a:r>
              <a:rPr lang="en-GB" dirty="0" smtClean="0">
                <a:solidFill>
                  <a:srgbClr val="262626"/>
                </a:solidFill>
                <a:latin typeface="Calibri Light" panose="020F0302020204030204" pitchFamily="34" charset="0"/>
              </a:rPr>
              <a:t>     of seismic surveys</a:t>
            </a:r>
          </a:p>
          <a:p>
            <a:pPr>
              <a:spcBef>
                <a:spcPct val="20000"/>
              </a:spcBef>
              <a:tabLst>
                <a:tab pos="1168400" algn="l"/>
              </a:tabLst>
              <a:defRPr/>
            </a:pPr>
            <a:endParaRPr lang="en-GB" sz="2000" dirty="0" smtClean="0">
              <a:solidFill>
                <a:srgbClr val="262626"/>
              </a:solidFill>
              <a:latin typeface="Calibri Light" panose="020F0302020204030204" pitchFamily="34" charset="0"/>
            </a:endParaRPr>
          </a:p>
        </p:txBody>
      </p:sp>
      <p:sp>
        <p:nvSpPr>
          <p:cNvPr id="10253" name="Rectangle 4"/>
          <p:cNvSpPr>
            <a:spLocks noGrp="1" noChangeArrowheads="1"/>
          </p:cNvSpPr>
          <p:nvPr>
            <p:ph type="ctrTitle" idx="4294967295"/>
          </p:nvPr>
        </p:nvSpPr>
        <p:spPr bwMode="auto">
          <a:xfrm>
            <a:off x="107950" y="-266700"/>
            <a:ext cx="7848600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de-DE" altLang="de-DE" sz="3200" smtClean="0"/>
              <a:t/>
            </a:r>
            <a:br>
              <a:rPr lang="de-DE" altLang="de-DE" sz="3200" smtClean="0"/>
            </a:br>
            <a:endParaRPr lang="de-DE" altLang="de-DE" sz="3200" smtClean="0"/>
          </a:p>
        </p:txBody>
      </p:sp>
      <p:sp>
        <p:nvSpPr>
          <p:cNvPr id="10254" name="Rectangle 5"/>
          <p:cNvSpPr>
            <a:spLocks noChangeArrowheads="1"/>
          </p:cNvSpPr>
          <p:nvPr/>
        </p:nvSpPr>
        <p:spPr bwMode="auto">
          <a:xfrm>
            <a:off x="457200" y="6426200"/>
            <a:ext cx="2895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de-DE" sz="1200">
              <a:solidFill>
                <a:srgbClr val="FFFFFF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576834" y="6247733"/>
            <a:ext cx="72355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alibri Light" panose="020F0302020204030204" pitchFamily="34" charset="0"/>
              </a:rPr>
              <a:t>740 </a:t>
            </a:r>
            <a:r>
              <a:rPr lang="en-US" sz="1200" kern="0" dirty="0" err="1" smtClean="0">
                <a:solidFill>
                  <a:srgbClr val="000000">
                    <a:lumMod val="75000"/>
                    <a:lumOff val="25000"/>
                  </a:srgbClr>
                </a:solidFill>
                <a:latin typeface="Calibri Light" panose="020F0302020204030204" pitchFamily="34" charset="0"/>
              </a:rPr>
              <a:t>sqkm</a:t>
            </a:r>
            <a:r>
              <a:rPr lang="en-US" sz="1200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alibri Light" panose="020F0302020204030204" pitchFamily="34" charset="0"/>
              </a:rPr>
              <a:t> Qatar shallow water bathymetry survey, 2010.</a:t>
            </a:r>
          </a:p>
          <a:p>
            <a:r>
              <a:rPr lang="en-US" sz="1200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alibri Light" panose="020F0302020204030204" pitchFamily="34" charset="0"/>
              </a:rPr>
              <a:t>doi:10.2523/17346-MS </a:t>
            </a:r>
            <a:r>
              <a:rPr lang="en-US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Calibri Light" panose="020F0302020204030204" pitchFamily="34" charset="0"/>
              </a:rPr>
              <a:t>https://www.onepetro.org/conference-paper/IPTC-17346-MS</a:t>
            </a:r>
          </a:p>
          <a:p>
            <a:r>
              <a:rPr lang="en-US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alibri Light" panose="020F0302020204030204" pitchFamily="34" charset="0"/>
              </a:rPr>
              <a:t>‘Supporting </a:t>
            </a: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Calibri Light" panose="020F0302020204030204" pitchFamily="34" charset="0"/>
              </a:rPr>
              <a:t>Qatar Shell with the execution of onshore and offshore seismic programs’ , </a:t>
            </a:r>
            <a:r>
              <a:rPr lang="en-US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alibri Light" panose="020F0302020204030204" pitchFamily="34" charset="0"/>
              </a:rPr>
              <a:t>IPTC </a:t>
            </a:r>
            <a:r>
              <a:rPr lang="en-US" sz="1200" dirty="0">
                <a:solidFill>
                  <a:srgbClr val="000000">
                    <a:lumMod val="75000"/>
                    <a:lumOff val="25000"/>
                  </a:srgbClr>
                </a:solidFill>
                <a:latin typeface="Calibri Light" panose="020F0302020204030204" pitchFamily="34" charset="0"/>
              </a:rPr>
              <a:t>conference </a:t>
            </a:r>
            <a:r>
              <a:rPr lang="en-US" sz="120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alibri Light" panose="020F0302020204030204" pitchFamily="34" charset="0"/>
              </a:rPr>
              <a:t>2014</a:t>
            </a:r>
            <a:endParaRPr lang="de-DE" sz="1200" dirty="0">
              <a:solidFill>
                <a:srgbClr val="000000">
                  <a:lumMod val="75000"/>
                  <a:lumOff val="25000"/>
                </a:srgbClr>
              </a:solidFill>
              <a:latin typeface="Calibri Light" panose="020F0302020204030204" pitchFamily="34" charset="0"/>
            </a:endParaRPr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9136" y="3140968"/>
            <a:ext cx="4017637" cy="301676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0797" y="1050135"/>
            <a:ext cx="585710" cy="548689"/>
          </a:xfrm>
          <a:prstGeom prst="rect">
            <a:avLst/>
          </a:prstGeom>
        </p:spPr>
      </p:pic>
      <p:pic>
        <p:nvPicPr>
          <p:cNvPr id="10" name="Picture 2" descr="T:\doc\design_presentation\Marketing\Icons_Archiv\flaticon\Info\png\info24.png"/>
          <p:cNvPicPr>
            <a:picLocks noChangeAspect="1" noChangeArrowheads="1"/>
          </p:cNvPicPr>
          <p:nvPr/>
        </p:nvPicPr>
        <p:blipFill>
          <a:blip r:embed="rId5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9680" y="6338985"/>
            <a:ext cx="258367" cy="258367"/>
          </a:xfrm>
          <a:prstGeom prst="rect">
            <a:avLst/>
          </a:prstGeom>
        </p:spPr>
      </p:pic>
      <p:grpSp>
        <p:nvGrpSpPr>
          <p:cNvPr id="2" name="Gruppieren 10"/>
          <p:cNvGrpSpPr/>
          <p:nvPr/>
        </p:nvGrpSpPr>
        <p:grpSpPr>
          <a:xfrm>
            <a:off x="179512" y="2449864"/>
            <a:ext cx="360339" cy="313981"/>
            <a:chOff x="179512" y="2394294"/>
            <a:chExt cx="360339" cy="313981"/>
          </a:xfrm>
        </p:grpSpPr>
        <p:sp>
          <p:nvSpPr>
            <p:cNvPr id="12" name="Rechteck 11"/>
            <p:cNvSpPr/>
            <p:nvPr/>
          </p:nvSpPr>
          <p:spPr>
            <a:xfrm>
              <a:off x="179512" y="2420888"/>
              <a:ext cx="360339" cy="2873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pic>
          <p:nvPicPr>
            <p:cNvPr id="13" name="Grafik 12" descr="settings38.png"/>
            <p:cNvPicPr>
              <a:picLocks noChangeAspect="1"/>
            </p:cNvPicPr>
            <p:nvPr/>
          </p:nvPicPr>
          <p:blipFill>
            <a:blip r:embed="rId6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915" y="2394294"/>
              <a:ext cx="286935" cy="286935"/>
            </a:xfrm>
            <a:prstGeom prst="rect">
              <a:avLst/>
            </a:prstGeom>
            <a:effectLst>
              <a:outerShdw blurRad="50800" dist="50800" dir="5400000" sx="1000" sy="1000" algn="ctr" rotWithShape="0">
                <a:srgbClr val="000000"/>
              </a:outerShdw>
            </a:effectLst>
          </p:spPr>
        </p:pic>
      </p:grpSp>
      <p:pic>
        <p:nvPicPr>
          <p:cNvPr id="14" name="Grafik 1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837" y="3297803"/>
            <a:ext cx="261803" cy="253300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836" y="3616896"/>
            <a:ext cx="261803" cy="25330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837" y="3946700"/>
            <a:ext cx="261803" cy="25330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836" y="4265793"/>
            <a:ext cx="261803" cy="253300"/>
          </a:xfrm>
          <a:prstGeom prst="rect">
            <a:avLst/>
          </a:prstGeom>
        </p:spPr>
      </p:pic>
      <p:sp>
        <p:nvSpPr>
          <p:cNvPr id="18" name="Rechteck 17"/>
          <p:cNvSpPr/>
          <p:nvPr/>
        </p:nvSpPr>
        <p:spPr>
          <a:xfrm>
            <a:off x="27642" y="16168"/>
            <a:ext cx="9144000" cy="9438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400"/>
              </a:spcBef>
              <a:defRPr/>
            </a:pPr>
            <a:r>
              <a:rPr lang="en-US" sz="3200" kern="0" dirty="0" smtClean="0">
                <a:solidFill>
                  <a:srgbClr val="FFFFFF"/>
                </a:solidFill>
                <a:latin typeface="Calibri" pitchFamily="34" charset="0"/>
              </a:rPr>
              <a:t>Shell Qatar Seismic Survey support</a:t>
            </a:r>
          </a:p>
          <a:p>
            <a:pPr algn="ctr">
              <a:spcBef>
                <a:spcPts val="400"/>
              </a:spcBef>
              <a:defRPr/>
            </a:pPr>
            <a:r>
              <a:rPr lang="en-US" sz="2000" kern="0" dirty="0" smtClean="0">
                <a:solidFill>
                  <a:srgbClr val="FFFFFF"/>
                </a:solidFill>
                <a:latin typeface="Calibri" pitchFamily="34" charset="0"/>
              </a:rPr>
              <a:t>SBD for planning shallow water seismic campaigns</a:t>
            </a:r>
            <a:endParaRPr lang="en-US" sz="3200" kern="0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11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Summary</a:t>
            </a:r>
            <a:endParaRPr lang="en-US" b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Alternative solutions to the nearshore mapping of many areas are feasi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They will not always attain navigational charting stand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These solutions can also benefit </a:t>
            </a:r>
            <a:r>
              <a:rPr lang="en-US" sz="1800" dirty="0"/>
              <a:t>n</a:t>
            </a:r>
            <a:r>
              <a:rPr lang="en-US" sz="1800" dirty="0" smtClean="0"/>
              <a:t>on-charting (but related) agen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An open minded approach can better serve a broader stakeholder gro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Fugro-EOMAP’s partnership </a:t>
            </a:r>
            <a:r>
              <a:rPr lang="en-US" sz="1800" dirty="0"/>
              <a:t>is new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We are aiming to combine </a:t>
            </a:r>
            <a:r>
              <a:rPr lang="en-US" sz="1800" dirty="0" err="1"/>
              <a:t>Fugro’s</a:t>
            </a:r>
            <a:r>
              <a:rPr lang="en-US" sz="1800" dirty="0"/>
              <a:t> considerable hydrographic </a:t>
            </a:r>
            <a:r>
              <a:rPr lang="en-US" sz="1800" dirty="0" smtClean="0"/>
              <a:t>survey expertise </a:t>
            </a:r>
            <a:r>
              <a:rPr lang="en-US" sz="1800" dirty="0"/>
              <a:t>with </a:t>
            </a:r>
            <a:r>
              <a:rPr lang="en-US" sz="1800" dirty="0" smtClean="0"/>
              <a:t>EOMAP’s </a:t>
            </a:r>
            <a:r>
              <a:rPr lang="en-US" sz="1800" dirty="0"/>
              <a:t>new and evolving satellite imagery technolog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The integrated approach is still develop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dirty="0"/>
              <a:t>We are committed to ensuring that shallow and hazardous coastal waterways can be surveyed safely and </a:t>
            </a:r>
            <a:r>
              <a:rPr lang="en-US" sz="1800" dirty="0" smtClean="0"/>
              <a:t>even more </a:t>
            </a:r>
            <a:r>
              <a:rPr lang="en-US" sz="1800" dirty="0"/>
              <a:t>efficient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There are ways and means of improving initial results from SDB with iterative processes utilizing ALB full waveform algorithms and a ground-truth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There are ways and means of improving final coverage and data density which agrees within a reasonable tolerance for the benefit of many cli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Key is to quantify what we have and apply appropriate risk to the data usage</a:t>
            </a:r>
            <a:endParaRPr lang="en-US" sz="18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92359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gro-EOMAP Teaming – Est. Aug 2015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n agreement to collaborate where </a:t>
            </a:r>
            <a:r>
              <a:rPr lang="en-US" dirty="0"/>
              <a:t>SDB and other relevant satellite-derived products prove a credible option to </a:t>
            </a:r>
            <a:r>
              <a:rPr lang="en-US" dirty="0" smtClean="0"/>
              <a:t>an </a:t>
            </a:r>
            <a:r>
              <a:rPr lang="en-US" dirty="0"/>
              <a:t>integrated survey services </a:t>
            </a:r>
            <a:r>
              <a:rPr lang="en-US" dirty="0" smtClean="0"/>
              <a:t>solu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ugro </a:t>
            </a:r>
            <a:r>
              <a:rPr lang="en-US" dirty="0"/>
              <a:t>primarily </a:t>
            </a:r>
            <a:r>
              <a:rPr lang="en-US" dirty="0" smtClean="0"/>
              <a:t>responsible for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Project definition, planning and </a:t>
            </a:r>
            <a:r>
              <a:rPr lang="en-US" dirty="0" smtClean="0"/>
              <a:t>management  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Source </a:t>
            </a:r>
            <a:r>
              <a:rPr lang="en-US" dirty="0"/>
              <a:t>data such as satellite </a:t>
            </a:r>
            <a:r>
              <a:rPr lang="en-US" dirty="0" smtClean="0"/>
              <a:t>imagery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Ground </a:t>
            </a:r>
            <a:r>
              <a:rPr lang="en-US" dirty="0"/>
              <a:t>truth data as </a:t>
            </a:r>
            <a:r>
              <a:rPr lang="en-US" dirty="0" smtClean="0"/>
              <a:t>requir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Hydrographic data review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Preparation </a:t>
            </a:r>
            <a:r>
              <a:rPr lang="en-US" dirty="0"/>
              <a:t>of all </a:t>
            </a:r>
            <a:r>
              <a:rPr lang="en-US" dirty="0" smtClean="0"/>
              <a:t>deliverables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OMAP </a:t>
            </a:r>
            <a:r>
              <a:rPr lang="en-US" dirty="0" smtClean="0"/>
              <a:t>primarily responsible for: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SDB planning </a:t>
            </a:r>
            <a:r>
              <a:rPr lang="en-US" dirty="0"/>
              <a:t>including data parameters and data source </a:t>
            </a:r>
            <a:r>
              <a:rPr lang="en-US" dirty="0" smtClean="0"/>
              <a:t>requirements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Data processing to produce SDB </a:t>
            </a:r>
            <a:r>
              <a:rPr lang="en-US" dirty="0" smtClean="0"/>
              <a:t>products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Support </a:t>
            </a:r>
            <a:r>
              <a:rPr lang="en-US" dirty="0"/>
              <a:t>Fugro in producing </a:t>
            </a:r>
            <a:r>
              <a:rPr lang="en-US" dirty="0" smtClean="0"/>
              <a:t>deliverables as required</a:t>
            </a:r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65359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2000" b="1" dirty="0" smtClean="0"/>
              <a:t>Thank You</a:t>
            </a:r>
            <a:endParaRPr lang="en-US" sz="2000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76604" y="1314450"/>
            <a:ext cx="1470485" cy="4748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1443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3" name="Text Box 3"/>
          <p:cNvSpPr txBox="1">
            <a:spLocks noChangeArrowheads="1"/>
          </p:cNvSpPr>
          <p:nvPr/>
        </p:nvSpPr>
        <p:spPr bwMode="auto">
          <a:xfrm>
            <a:off x="416286" y="5505427"/>
            <a:ext cx="8423232" cy="830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13" rIns="91425" bIns="45713">
            <a:spAutoFit/>
          </a:bodyPr>
          <a:lstStyle>
            <a:lvl1pPr defTabSz="1089025" eaLnBrk="0" hangingPunct="0"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defTabSz="1089025" eaLnBrk="0" hangingPunct="0"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defTabSz="1089025" eaLnBrk="0" hangingPunct="0"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defTabSz="1089025" eaLnBrk="0" hangingPunct="0"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defTabSz="1089025" eaLnBrk="0" hangingPunct="0"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108902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108902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108902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1089025" eaLnBrk="0" fontAlgn="base" hangingPunct="0">
              <a:spcBef>
                <a:spcPct val="0"/>
              </a:spcBef>
              <a:spcAft>
                <a:spcPct val="0"/>
              </a:spcAft>
              <a:defRPr sz="29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r>
              <a:rPr lang="en-US" altLang="en-US" sz="1600" dirty="0">
                <a:solidFill>
                  <a:prstClr val="black"/>
                </a:solidFill>
              </a:rPr>
              <a:t>Our services span a wide variety of clients where we provide </a:t>
            </a:r>
            <a:r>
              <a:rPr lang="en-US" altLang="en-US" sz="1600" dirty="0" smtClean="0">
                <a:solidFill>
                  <a:prstClr val="black"/>
                </a:solidFill>
              </a:rPr>
              <a:t>both support </a:t>
            </a:r>
            <a:r>
              <a:rPr lang="en-US" altLang="en-US" sz="1600" dirty="0">
                <a:solidFill>
                  <a:prstClr val="black"/>
                </a:solidFill>
              </a:rPr>
              <a:t>and resources tailored to the specific needs of each. We can deliver multi-disciplined survey solutions anywhere in the world.</a:t>
            </a:r>
          </a:p>
        </p:txBody>
      </p:sp>
      <p:grpSp>
        <p:nvGrpSpPr>
          <p:cNvPr id="2" name="Group 28"/>
          <p:cNvGrpSpPr>
            <a:grpSpLocks/>
          </p:cNvGrpSpPr>
          <p:nvPr/>
        </p:nvGrpSpPr>
        <p:grpSpPr bwMode="auto">
          <a:xfrm>
            <a:off x="1011969" y="2736796"/>
            <a:ext cx="7150955" cy="333817"/>
            <a:chOff x="-324" y="1735"/>
            <a:chExt cx="4038" cy="269"/>
          </a:xfrm>
        </p:grpSpPr>
        <p:sp>
          <p:nvSpPr>
            <p:cNvPr id="15371" name="Text Box 10"/>
            <p:cNvSpPr txBox="1">
              <a:spLocks noChangeArrowheads="1"/>
            </p:cNvSpPr>
            <p:nvPr/>
          </p:nvSpPr>
          <p:spPr bwMode="auto">
            <a:xfrm>
              <a:off x="1792" y="1735"/>
              <a:ext cx="1922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08969" tIns="54485" rIns="108969" bIns="54485">
              <a:spAutoFit/>
            </a:bodyPr>
            <a:lstStyle>
              <a:lvl1pPr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1300" b="1" dirty="0">
                  <a:solidFill>
                    <a:prstClr val="black"/>
                  </a:solidFill>
                </a:rPr>
                <a:t>Engineering &amp; Construction Support</a:t>
              </a:r>
            </a:p>
          </p:txBody>
        </p:sp>
        <p:sp>
          <p:nvSpPr>
            <p:cNvPr id="15373" name="Text Box 15"/>
            <p:cNvSpPr txBox="1">
              <a:spLocks noChangeArrowheads="1"/>
            </p:cNvSpPr>
            <p:nvPr/>
          </p:nvSpPr>
          <p:spPr bwMode="auto">
            <a:xfrm>
              <a:off x="-324" y="1754"/>
              <a:ext cx="1972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08969" tIns="54485" rIns="108969" bIns="54485">
              <a:spAutoFit/>
            </a:bodyPr>
            <a:lstStyle>
              <a:lvl1pPr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1300" b="1" dirty="0">
                  <a:solidFill>
                    <a:prstClr val="black"/>
                  </a:solidFill>
                </a:rPr>
                <a:t>Hydrographic </a:t>
              </a:r>
              <a:r>
                <a:rPr lang="en-US" altLang="en-US" sz="1300" b="1" dirty="0" smtClean="0">
                  <a:solidFill>
                    <a:prstClr val="black"/>
                  </a:solidFill>
                </a:rPr>
                <a:t>Surveying </a:t>
              </a:r>
              <a:r>
                <a:rPr lang="en-US" altLang="en-US" sz="1300" b="1" dirty="0">
                  <a:solidFill>
                    <a:prstClr val="black"/>
                  </a:solidFill>
                </a:rPr>
                <a:t>(Charting)</a:t>
              </a:r>
              <a:endParaRPr lang="en-US" altLang="en-US" sz="13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" name="Group 29"/>
          <p:cNvGrpSpPr>
            <a:grpSpLocks/>
          </p:cNvGrpSpPr>
          <p:nvPr/>
        </p:nvGrpSpPr>
        <p:grpSpPr bwMode="auto">
          <a:xfrm>
            <a:off x="1445289" y="4968255"/>
            <a:ext cx="6717904" cy="316958"/>
            <a:chOff x="-41" y="2998"/>
            <a:chExt cx="4232" cy="255"/>
          </a:xfrm>
        </p:grpSpPr>
        <p:sp>
          <p:nvSpPr>
            <p:cNvPr id="15368" name="Text Box 16"/>
            <p:cNvSpPr txBox="1">
              <a:spLocks noChangeArrowheads="1"/>
            </p:cNvSpPr>
            <p:nvPr/>
          </p:nvSpPr>
          <p:spPr bwMode="auto">
            <a:xfrm>
              <a:off x="-41" y="2998"/>
              <a:ext cx="1633" cy="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08969" tIns="54485" rIns="108969" bIns="54485">
              <a:spAutoFit/>
            </a:bodyPr>
            <a:lstStyle>
              <a:lvl1pPr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1300" b="1" dirty="0">
                  <a:solidFill>
                    <a:prstClr val="black"/>
                  </a:solidFill>
                </a:rPr>
                <a:t>Coastal Zone Management</a:t>
              </a:r>
              <a:endParaRPr lang="en-US" altLang="en-US" sz="1300" dirty="0">
                <a:solidFill>
                  <a:prstClr val="black"/>
                </a:solidFill>
              </a:endParaRPr>
            </a:p>
          </p:txBody>
        </p:sp>
        <p:sp>
          <p:nvSpPr>
            <p:cNvPr id="15369" name="Text Box 19"/>
            <p:cNvSpPr txBox="1">
              <a:spLocks noChangeArrowheads="1"/>
            </p:cNvSpPr>
            <p:nvPr/>
          </p:nvSpPr>
          <p:spPr bwMode="auto">
            <a:xfrm>
              <a:off x="2088" y="3004"/>
              <a:ext cx="2103" cy="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108969" tIns="54485" rIns="108969" bIns="54485">
              <a:spAutoFit/>
            </a:bodyPr>
            <a:lstStyle>
              <a:lvl1pPr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 defTabSz="1089025" eaLnBrk="0" hangingPunct="0"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defTabSz="1089025" eaLnBrk="0" fontAlgn="base" hangingPunct="0">
                <a:spcBef>
                  <a:spcPct val="0"/>
                </a:spcBef>
                <a:spcAft>
                  <a:spcPct val="0"/>
                </a:spcAft>
                <a:defRPr sz="29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altLang="en-US" sz="1300" b="1" dirty="0">
                  <a:solidFill>
                    <a:prstClr val="black"/>
                  </a:solidFill>
                </a:rPr>
                <a:t>Marine Route </a:t>
              </a:r>
              <a:r>
                <a:rPr lang="en-US" altLang="en-US" sz="1300" b="1" dirty="0" smtClean="0">
                  <a:solidFill>
                    <a:prstClr val="black"/>
                  </a:solidFill>
                </a:rPr>
                <a:t>Surveys</a:t>
              </a:r>
              <a:endParaRPr lang="en-US" altLang="en-US" sz="1300" dirty="0">
                <a:solidFill>
                  <a:prstClr val="black"/>
                </a:solidFill>
              </a:endParaRPr>
            </a:p>
          </p:txBody>
        </p:sp>
      </p:grpSp>
      <p:pic>
        <p:nvPicPr>
          <p:cNvPr id="16" name="Picture 15" descr="Other Sectors 3.jpg"/>
          <p:cNvPicPr>
            <a:picLocks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12137" y="1111138"/>
            <a:ext cx="3564337" cy="164923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A2_january02_fugro"/>
          <p:cNvPicPr>
            <a:picLocks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64" t="2965" r="2689" b="24127"/>
          <a:stretch>
            <a:fillRect/>
          </a:stretch>
        </p:blipFill>
        <p:spPr bwMode="auto">
          <a:xfrm>
            <a:off x="4712136" y="3284007"/>
            <a:ext cx="3566160" cy="16459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5" name="Picture 15"/>
          <p:cNvPicPr>
            <a:picLocks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92973" y="1110692"/>
            <a:ext cx="3566160" cy="1649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5" descr="100_0080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24334" y="1110693"/>
            <a:ext cx="579116" cy="517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8" descr="Southern Supporter Cleaned up_RW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50281" y="2166757"/>
            <a:ext cx="629144" cy="593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6" descr="Meridian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7395" y="3295637"/>
            <a:ext cx="527001" cy="496412"/>
          </a:xfrm>
          <a:prstGeom prst="rect">
            <a:avLst/>
          </a:prstGeom>
          <a:noFill/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2" descr="Southern Supporter.jp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8542" y="4349036"/>
            <a:ext cx="558963" cy="496411"/>
          </a:xfrm>
          <a:prstGeom prst="rect">
            <a:avLst/>
          </a:prstGeom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15376" name="Picture 16"/>
          <p:cNvPicPr>
            <a:picLocks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08" r="25458"/>
          <a:stretch/>
        </p:blipFill>
        <p:spPr bwMode="auto">
          <a:xfrm rot="5400000">
            <a:off x="1807373" y="2400287"/>
            <a:ext cx="1645920" cy="34747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gro Capabilities - Our Marke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83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12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75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250"/>
                                        <p:tgtEl>
                                          <p:spTgt spid="819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2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OMAP Capabilities – Markets</a:t>
            </a:r>
            <a:endParaRPr lang="en-US" dirty="0"/>
          </a:p>
        </p:txBody>
      </p:sp>
      <p:grpSp>
        <p:nvGrpSpPr>
          <p:cNvPr id="4" name="Gruppieren 10"/>
          <p:cNvGrpSpPr>
            <a:grpSpLocks/>
          </p:cNvGrpSpPr>
          <p:nvPr/>
        </p:nvGrpSpPr>
        <p:grpSpPr bwMode="auto">
          <a:xfrm>
            <a:off x="4531328" y="981075"/>
            <a:ext cx="4021068" cy="2406650"/>
            <a:chOff x="4658669" y="1052737"/>
            <a:chExt cx="4110908" cy="2530442"/>
          </a:xfrm>
        </p:grpSpPr>
        <p:pic>
          <p:nvPicPr>
            <p:cNvPr id="5" name="Picture 5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0032" y="1052737"/>
              <a:ext cx="3779912" cy="2530442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Rectangle 3"/>
            <p:cNvSpPr>
              <a:spLocks noChangeArrowheads="1"/>
            </p:cNvSpPr>
            <p:nvPr/>
          </p:nvSpPr>
          <p:spPr bwMode="auto">
            <a:xfrm>
              <a:off x="4860031" y="1206401"/>
              <a:ext cx="3816424" cy="741278"/>
            </a:xfrm>
            <a:prstGeom prst="rect">
              <a:avLst/>
            </a:prstGeom>
            <a:solidFill>
              <a:schemeClr val="bg1">
                <a:alpha val="52156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7" name="Rectangle 4"/>
            <p:cNvSpPr txBox="1">
              <a:spLocks noChangeArrowheads="1"/>
            </p:cNvSpPr>
            <p:nvPr/>
          </p:nvSpPr>
          <p:spPr>
            <a:xfrm>
              <a:off x="4658669" y="1274734"/>
              <a:ext cx="4110908" cy="427304"/>
            </a:xfrm>
            <a:prstGeom prst="roundRect">
              <a:avLst/>
            </a:prstGeom>
            <a:noFill/>
          </p:spPr>
          <p:txBody>
            <a:bodyPr/>
            <a:lstStyle/>
            <a:p>
              <a:pPr algn="ctr" eaLnBrk="0" hangingPunct="0">
                <a:defRPr/>
              </a:pPr>
              <a:r>
                <a:rPr lang="de-DE" sz="1600" kern="0" dirty="0">
                  <a:solidFill>
                    <a:srgbClr val="002060"/>
                  </a:solidFill>
                  <a:latin typeface="Calibri" pitchFamily="34" charset="0"/>
                  <a:ea typeface="+mj-ea"/>
                  <a:cs typeface="+mj-cs"/>
                </a:rPr>
                <a:t> </a:t>
              </a:r>
              <a:r>
                <a:rPr lang="en-US" sz="1600" b="1" kern="0" dirty="0">
                  <a:solidFill>
                    <a:srgbClr val="002060"/>
                  </a:solidFill>
                  <a:latin typeface="Calibri" pitchFamily="34" charset="0"/>
                  <a:ea typeface="+mj-ea"/>
                  <a:cs typeface="+mj-cs"/>
                </a:rPr>
                <a:t>Environmental </a:t>
              </a:r>
              <a:r>
                <a:rPr lang="en-US" sz="1600" b="1" kern="0" dirty="0" smtClean="0">
                  <a:solidFill>
                    <a:srgbClr val="002060"/>
                  </a:solidFill>
                  <a:latin typeface="Calibri" pitchFamily="34" charset="0"/>
                  <a:ea typeface="+mj-ea"/>
                  <a:cs typeface="+mj-cs"/>
                </a:rPr>
                <a:t>Monitoring </a:t>
              </a:r>
              <a:r>
                <a:rPr lang="en-US" sz="1600" b="1" kern="0" dirty="0">
                  <a:solidFill>
                    <a:srgbClr val="002060"/>
                  </a:solidFill>
                  <a:latin typeface="Calibri" pitchFamily="34" charset="0"/>
                  <a:ea typeface="+mj-ea"/>
                  <a:cs typeface="+mj-cs"/>
                </a:rPr>
                <a:t>of </a:t>
              </a:r>
              <a:r>
                <a:rPr lang="en-US" sz="1600" b="1" kern="0" dirty="0" smtClean="0">
                  <a:solidFill>
                    <a:srgbClr val="002060"/>
                  </a:solidFill>
                  <a:latin typeface="Calibri" pitchFamily="34" charset="0"/>
                  <a:ea typeface="+mj-ea"/>
                  <a:cs typeface="+mj-cs"/>
                </a:rPr>
                <a:t>Coastal Zones</a:t>
              </a:r>
              <a:r>
                <a:rPr lang="en-US" sz="1600" b="1" kern="0" dirty="0">
                  <a:solidFill>
                    <a:srgbClr val="002060"/>
                  </a:solidFill>
                  <a:latin typeface="Calibri" pitchFamily="34" charset="0"/>
                  <a:ea typeface="+mj-ea"/>
                  <a:cs typeface="+mj-cs"/>
                </a:rPr>
                <a:t/>
              </a:r>
              <a:br>
                <a:rPr lang="en-US" sz="1600" b="1" kern="0" dirty="0">
                  <a:solidFill>
                    <a:srgbClr val="002060"/>
                  </a:solidFill>
                  <a:latin typeface="Calibri" pitchFamily="34" charset="0"/>
                  <a:ea typeface="+mj-ea"/>
                  <a:cs typeface="+mj-cs"/>
                </a:rPr>
              </a:br>
              <a:r>
                <a:rPr lang="en-US" sz="1600" b="1" kern="0" dirty="0" smtClean="0">
                  <a:solidFill>
                    <a:srgbClr val="002060"/>
                  </a:solidFill>
                  <a:latin typeface="Calibri" pitchFamily="34" charset="0"/>
                  <a:ea typeface="+mj-ea"/>
                  <a:cs typeface="+mj-cs"/>
                </a:rPr>
                <a:t>and Habitat Mapping</a:t>
              </a:r>
              <a:r>
                <a:rPr lang="de-DE" sz="1600" b="1" i="1" kern="0" dirty="0">
                  <a:solidFill>
                    <a:srgbClr val="002060"/>
                  </a:solidFill>
                  <a:latin typeface="Calibri" pitchFamily="34" charset="0"/>
                  <a:ea typeface="+mj-ea"/>
                  <a:cs typeface="+mj-cs"/>
                </a:rPr>
                <a:t/>
              </a:r>
              <a:br>
                <a:rPr lang="de-DE" sz="1600" b="1" i="1" kern="0" dirty="0">
                  <a:solidFill>
                    <a:srgbClr val="002060"/>
                  </a:solidFill>
                  <a:latin typeface="Calibri" pitchFamily="34" charset="0"/>
                  <a:ea typeface="+mj-ea"/>
                  <a:cs typeface="+mj-cs"/>
                </a:rPr>
              </a:br>
              <a:endParaRPr lang="de-DE" sz="1600" kern="0" dirty="0">
                <a:solidFill>
                  <a:srgbClr val="002060"/>
                </a:solidFill>
                <a:latin typeface="Calibri" pitchFamily="34" charset="0"/>
                <a:ea typeface="+mj-ea"/>
                <a:cs typeface="+mj-cs"/>
              </a:endParaRPr>
            </a:p>
          </p:txBody>
        </p:sp>
      </p:grpSp>
      <p:pic>
        <p:nvPicPr>
          <p:cNvPr id="8" name="Picture 2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534034" y="987220"/>
            <a:ext cx="3635632" cy="2397423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539750" y="1125538"/>
            <a:ext cx="3816350" cy="431800"/>
          </a:xfrm>
          <a:prstGeom prst="rect">
            <a:avLst/>
          </a:prstGeom>
          <a:solidFill>
            <a:schemeClr val="bg1">
              <a:alpha val="52156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sz="1600"/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468313" y="1196975"/>
            <a:ext cx="367188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en-US" sz="1600" b="1" kern="0" dirty="0" smtClean="0">
                <a:solidFill>
                  <a:srgbClr val="002060"/>
                </a:solidFill>
                <a:latin typeface="Calibri" pitchFamily="34" charset="0"/>
                <a:ea typeface="+mj-ea"/>
                <a:cs typeface="+mj-cs"/>
              </a:rPr>
              <a:t>Satellite Derived Bathymetric Surveys</a:t>
            </a:r>
            <a:endParaRPr lang="en-US" sz="1600" b="1" kern="0" dirty="0">
              <a:solidFill>
                <a:srgbClr val="002060"/>
              </a:solidFill>
              <a:latin typeface="Calibri" pitchFamily="34" charset="0"/>
              <a:ea typeface="+mj-ea"/>
              <a:cs typeface="+mj-cs"/>
            </a:endParaRPr>
          </a:p>
        </p:txBody>
      </p:sp>
      <p:pic>
        <p:nvPicPr>
          <p:cNvPr id="11" name="Picture 2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652" y="2397568"/>
            <a:ext cx="1848084" cy="1247456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</p:pic>
      <p:pic>
        <p:nvPicPr>
          <p:cNvPr id="12" name="Picture 19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2412475"/>
            <a:ext cx="1817181" cy="1191398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</p:pic>
      <p:grpSp>
        <p:nvGrpSpPr>
          <p:cNvPr id="13" name="Gruppieren 15"/>
          <p:cNvGrpSpPr>
            <a:grpSpLocks/>
          </p:cNvGrpSpPr>
          <p:nvPr/>
        </p:nvGrpSpPr>
        <p:grpSpPr bwMode="auto">
          <a:xfrm>
            <a:off x="2671250" y="3644900"/>
            <a:ext cx="3614738" cy="2398713"/>
            <a:chOff x="250825" y="3644900"/>
            <a:chExt cx="3816350" cy="2520950"/>
          </a:xfrm>
        </p:grpSpPr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825" y="3644900"/>
              <a:ext cx="3816350" cy="2520950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Rectangle 3"/>
            <p:cNvSpPr>
              <a:spLocks noChangeArrowheads="1"/>
            </p:cNvSpPr>
            <p:nvPr/>
          </p:nvSpPr>
          <p:spPr bwMode="auto">
            <a:xfrm>
              <a:off x="250825" y="3860124"/>
              <a:ext cx="3816350" cy="715742"/>
            </a:xfrm>
            <a:prstGeom prst="rect">
              <a:avLst/>
            </a:prstGeom>
            <a:solidFill>
              <a:schemeClr val="bg1">
                <a:alpha val="52156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r>
                <a:rPr lang="de-DE" sz="1600" b="1" kern="0" dirty="0" err="1">
                  <a:solidFill>
                    <a:srgbClr val="002060"/>
                  </a:solidFill>
                  <a:latin typeface="Calibri" pitchFamily="34" charset="0"/>
                  <a:cs typeface="Arial"/>
                </a:rPr>
                <a:t>Water</a:t>
              </a:r>
              <a:r>
                <a:rPr lang="de-DE" sz="1600" b="1" kern="0" dirty="0">
                  <a:solidFill>
                    <a:srgbClr val="002060"/>
                  </a:solidFill>
                  <a:latin typeface="Calibri" pitchFamily="34" charset="0"/>
                  <a:cs typeface="Arial"/>
                </a:rPr>
                <a:t> Q</a:t>
              </a:r>
              <a:r>
                <a:rPr lang="de-DE" sz="1600" b="1" kern="0" dirty="0" smtClean="0">
                  <a:solidFill>
                    <a:srgbClr val="002060"/>
                  </a:solidFill>
                  <a:latin typeface="Calibri" pitchFamily="34" charset="0"/>
                  <a:cs typeface="Arial"/>
                </a:rPr>
                <a:t>uality Monitoring</a:t>
              </a:r>
              <a:endParaRPr lang="de-DE" sz="1600" dirty="0">
                <a:solidFill>
                  <a:srgbClr val="002060"/>
                </a:solidFill>
              </a:endParaRPr>
            </a:p>
          </p:txBody>
        </p:sp>
      </p:grp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3791" y="5035112"/>
            <a:ext cx="1813767" cy="1202090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 w="152400" h="50800" prst="softRound"/>
          </a:sp3d>
          <a:extLst/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09384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The Case for an Integrated Survey Solution</a:t>
            </a:r>
            <a:endParaRPr lang="en-US" b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755749" y="6597352"/>
            <a:ext cx="7397651" cy="260648"/>
          </a:xfrm>
        </p:spPr>
        <p:txBody>
          <a:bodyPr/>
          <a:lstStyle/>
          <a:p>
            <a:r>
              <a:rPr lang="en-US" dirty="0">
                <a:latin typeface="Arial Narrow" panose="020B0606020202030204" pitchFamily="34" charset="0"/>
              </a:rPr>
              <a:t>Photos: </a:t>
            </a:r>
            <a:r>
              <a:rPr lang="en-US" dirty="0" smtClean="0">
                <a:latin typeface="Arial Narrow" panose="020B0606020202030204" pitchFamily="34" charset="0"/>
              </a:rPr>
              <a:t>http</a:t>
            </a:r>
            <a:r>
              <a:rPr lang="en-US" dirty="0">
                <a:latin typeface="Arial Narrow" panose="020B0606020202030204" pitchFamily="34" charset="0"/>
              </a:rPr>
              <a:t>://www.shedexpedition.com/wp-content/uploads/2014/04/Virginia-Beach-sky-view.jpg; </a:t>
            </a:r>
            <a:r>
              <a:rPr lang="en-US" dirty="0" smtClean="0">
                <a:latin typeface="Arial Narrow" panose="020B0606020202030204" pitchFamily="34" charset="0"/>
              </a:rPr>
              <a:t>http</a:t>
            </a:r>
            <a:r>
              <a:rPr lang="en-US" dirty="0">
                <a:latin typeface="Arial Narrow" panose="020B0606020202030204" pitchFamily="34" charset="0"/>
              </a:rPr>
              <a:t>://gpmoorephoto.com/blog/wp-content/uploads/2012/11/Icy-Bay-Mount-Saint-Elias-Alaska-Photo.jpg; </a:t>
            </a:r>
          </a:p>
          <a:p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98239" y="1163632"/>
            <a:ext cx="5008151" cy="569436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creasing emphasis </a:t>
            </a:r>
            <a:r>
              <a:rPr lang="en-US" dirty="0"/>
              <a:t>on </a:t>
            </a:r>
            <a:r>
              <a:rPr lang="en-US" dirty="0" smtClean="0"/>
              <a:t>nearshore </a:t>
            </a:r>
            <a:r>
              <a:rPr lang="en-US" dirty="0"/>
              <a:t>surveys and the </a:t>
            </a:r>
            <a:r>
              <a:rPr lang="en-US" dirty="0" smtClean="0"/>
              <a:t>coastal </a:t>
            </a:r>
            <a:r>
              <a:rPr lang="en-US" dirty="0"/>
              <a:t>hinterland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apping of </a:t>
            </a:r>
            <a:r>
              <a:rPr lang="en-US" dirty="0"/>
              <a:t>land-sea interface requires </a:t>
            </a:r>
            <a:r>
              <a:rPr lang="en-US" dirty="0" smtClean="0"/>
              <a:t>a broader </a:t>
            </a:r>
            <a:r>
              <a:rPr lang="en-US" dirty="0"/>
              <a:t>approach to hydrographic </a:t>
            </a:r>
            <a:r>
              <a:rPr lang="en-US" dirty="0" smtClean="0"/>
              <a:t>survey </a:t>
            </a:r>
            <a:r>
              <a:rPr lang="en-US" dirty="0"/>
              <a:t>techniques and technologi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ncerns </a:t>
            </a:r>
            <a:r>
              <a:rPr lang="en-US" dirty="0"/>
              <a:t>over </a:t>
            </a:r>
            <a:r>
              <a:rPr lang="en-US" dirty="0" smtClean="0"/>
              <a:t>various charting and coastal zone mapping issues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sea </a:t>
            </a:r>
            <a:r>
              <a:rPr lang="en-US" dirty="0"/>
              <a:t>level rise due to climate </a:t>
            </a:r>
            <a:r>
              <a:rPr lang="en-US" dirty="0" smtClean="0"/>
              <a:t>chang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land </a:t>
            </a:r>
            <a:r>
              <a:rPr lang="en-US" dirty="0"/>
              <a:t>subsidence through extraction of </a:t>
            </a:r>
            <a:r>
              <a:rPr lang="en-US" dirty="0" smtClean="0"/>
              <a:t>mineral </a:t>
            </a:r>
            <a:r>
              <a:rPr lang="en-US" dirty="0"/>
              <a:t>and water </a:t>
            </a:r>
            <a:r>
              <a:rPr lang="en-US" dirty="0" smtClean="0"/>
              <a:t>resourc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growth of / reliance on </a:t>
            </a:r>
            <a:r>
              <a:rPr lang="en-US" dirty="0"/>
              <a:t>a seaborne </a:t>
            </a:r>
            <a:r>
              <a:rPr lang="en-US" dirty="0" smtClean="0"/>
              <a:t>blue </a:t>
            </a:r>
            <a:r>
              <a:rPr lang="en-US" dirty="0"/>
              <a:t>e</a:t>
            </a:r>
            <a:r>
              <a:rPr lang="en-US" dirty="0" smtClean="0"/>
              <a:t>conomy (efficient delivery of goods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coastal erosion </a:t>
            </a:r>
            <a:r>
              <a:rPr lang="en-US" dirty="0"/>
              <a:t>or damage to nearshore ecosystems </a:t>
            </a:r>
            <a:r>
              <a:rPr lang="en-US" dirty="0" smtClean="0"/>
              <a:t>(habitat </a:t>
            </a:r>
            <a:r>
              <a:rPr lang="en-US" dirty="0"/>
              <a:t>mapping and environmental </a:t>
            </a:r>
            <a:r>
              <a:rPr lang="en-US" dirty="0" smtClean="0"/>
              <a:t>surveys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Increase in population and population density along the </a:t>
            </a:r>
            <a:r>
              <a:rPr lang="en-US" dirty="0"/>
              <a:t>coast </a:t>
            </a:r>
            <a:r>
              <a:rPr lang="en-US" dirty="0" smtClean="0"/>
              <a:t>places </a:t>
            </a:r>
            <a:r>
              <a:rPr lang="en-US" dirty="0"/>
              <a:t>extra </a:t>
            </a:r>
            <a:r>
              <a:rPr lang="en-US" dirty="0" smtClean="0"/>
              <a:t>emphasis on  monitoring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6561" y="1163632"/>
            <a:ext cx="3559500" cy="1953211"/>
          </a:xfrm>
          <a:prstGeom prst="rect">
            <a:avLst/>
          </a:prstGeom>
        </p:spPr>
      </p:pic>
      <p:pic>
        <p:nvPicPr>
          <p:cNvPr id="10" name="Picture 16" descr="Image1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26560" y="3223260"/>
            <a:ext cx="3557580" cy="28792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63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Can We </a:t>
            </a:r>
            <a:r>
              <a:rPr lang="en-US" b="0" dirty="0"/>
              <a:t>T</a:t>
            </a:r>
            <a:r>
              <a:rPr lang="en-US" b="0" dirty="0" smtClean="0"/>
              <a:t>rust the Low-Cost </a:t>
            </a:r>
            <a:r>
              <a:rPr lang="en-US" b="0" dirty="0"/>
              <a:t>O</a:t>
            </a:r>
            <a:r>
              <a:rPr lang="en-US" b="0" dirty="0" smtClean="0"/>
              <a:t>ption?</a:t>
            </a:r>
            <a:endParaRPr lang="en-US" b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We can, if we apply an integrated approach….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DB can provide cost-effective initial coverage of a suitable, clear, shallow-water are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e can take the initial results and do at least three thing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the data to provide reconnaissance information for follow-on, more easily quantifiable survey techniques (put an otherwise poorly charted area in focu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Conduct more discrete, higher-resolution surveys of the most critical areas for development or coastal defense / monitor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Use active sensor data to refine the original SDB results to create a better-defined, integrated product which can start to attain accuracies acceptable to a wider stakeholder gro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e can also start to recognize the benefits of well-developed algorithms of satellite imagery to extract even more habitat info from the coastal zon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39423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Why an Integrated Approach?</a:t>
            </a:r>
            <a:endParaRPr lang="en-US" b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196" y="1268760"/>
            <a:ext cx="8527888" cy="511256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mall scale / large area deliverables can be generated in a timely man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y integrating a survey campaign, the survey team can take advantage of the results of initial remote sensing data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</a:t>
            </a:r>
            <a:r>
              <a:rPr lang="en-US" dirty="0" smtClean="0"/>
              <a:t>o hone the extent of survey required by the next level of technology in the campaig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o highlight the presence of potential hazards and obstruc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to maximize efficiency in all phases of the campaign and improve cost-effectivene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t</a:t>
            </a:r>
            <a:r>
              <a:rPr lang="en-US" dirty="0" smtClean="0"/>
              <a:t>o accelerate the detection of major chart discrepancies and enact rapid issuance of T&amp;P NOT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ch an approach promotes efficiency in all levels of survey plan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iven the extensive geography of the MACHC, a ‘base-layer’ of SDB can accelerate the acquisition of modern data coverag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…. from unacceptably long and protracted survey program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…. to acceptably manageable timelines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…. within acceptable budget constraint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…. with discernable progress possible for all recipients. 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8605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66529" y="2931795"/>
            <a:ext cx="4240530" cy="318039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 smtClean="0"/>
              <a:t>SDB-ALB Comparison Results</a:t>
            </a:r>
            <a:endParaRPr lang="en-US" b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197" y="1268760"/>
            <a:ext cx="8304603" cy="1988790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gencies have independently compared results of one or two overlapping surveys in discrete regions … often over very limited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We undertook a wider study of four very disparate areas, with differing coastal conditions, between the complementary and more typical (in terms of coverage and domain) ALB and SDB datas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  summary of these results have been provided previousl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82197" y="3669162"/>
            <a:ext cx="371479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</a:rPr>
              <a:t>Conclus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we </a:t>
            </a:r>
            <a:r>
              <a:rPr lang="en-US" sz="1600" dirty="0">
                <a:solidFill>
                  <a:srgbClr val="000000"/>
                </a:solidFill>
              </a:rPr>
              <a:t>have a firm case to justify the utility of SDB in </a:t>
            </a:r>
            <a:r>
              <a:rPr lang="en-US" sz="1600" b="1" i="1" u="sng" dirty="0">
                <a:solidFill>
                  <a:srgbClr val="000000"/>
                </a:solidFill>
              </a:rPr>
              <a:t>carefully considered scenario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a</a:t>
            </a:r>
            <a:r>
              <a:rPr lang="en-US" sz="1600" dirty="0" smtClean="0">
                <a:solidFill>
                  <a:srgbClr val="000000"/>
                </a:solidFill>
              </a:rPr>
              <a:t>bsolute </a:t>
            </a:r>
            <a:r>
              <a:rPr lang="en-US" sz="1600" dirty="0">
                <a:solidFill>
                  <a:srgbClr val="000000"/>
                </a:solidFill>
              </a:rPr>
              <a:t>accuracy might not meet current charting requirements but relative </a:t>
            </a:r>
            <a:r>
              <a:rPr lang="en-US" sz="1600" dirty="0" smtClean="0">
                <a:solidFill>
                  <a:srgbClr val="000000"/>
                </a:solidFill>
              </a:rPr>
              <a:t>accuracy </a:t>
            </a:r>
            <a:r>
              <a:rPr lang="en-US" sz="1600" dirty="0">
                <a:solidFill>
                  <a:srgbClr val="000000"/>
                </a:solidFill>
              </a:rPr>
              <a:t>is good for </a:t>
            </a:r>
            <a:r>
              <a:rPr lang="en-US" sz="1600" dirty="0" smtClean="0">
                <a:solidFill>
                  <a:srgbClr val="000000"/>
                </a:solidFill>
              </a:rPr>
              <a:t>reconnaissance </a:t>
            </a:r>
            <a:r>
              <a:rPr lang="en-US" sz="1600" dirty="0">
                <a:solidFill>
                  <a:srgbClr val="000000"/>
                </a:solidFill>
              </a:rPr>
              <a:t>and change </a:t>
            </a:r>
            <a:r>
              <a:rPr lang="en-US" sz="1600" dirty="0" smtClean="0">
                <a:solidFill>
                  <a:srgbClr val="000000"/>
                </a:solidFill>
              </a:rPr>
              <a:t>detection</a:t>
            </a: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0822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Lake </a:t>
            </a:r>
            <a:r>
              <a:rPr lang="en-US" b="0" dirty="0" smtClean="0"/>
              <a:t>Michigan</a:t>
            </a:r>
            <a:endParaRPr lang="en-US" b="0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5900" y="1119938"/>
            <a:ext cx="6172200" cy="535323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2639" y="6164960"/>
            <a:ext cx="1074420" cy="3469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7272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tandarddesign">
  <a:themeElements>
    <a:clrScheme name="1_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Standarddesign">
      <a:majorFont>
        <a:latin typeface="Myriad Pro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FUGRO DEF">
      <a:dk1>
        <a:sysClr val="windowText" lastClr="000000"/>
      </a:dk1>
      <a:lt1>
        <a:sysClr val="window" lastClr="FFFFFF"/>
      </a:lt1>
      <a:dk2>
        <a:srgbClr val="3C6C82"/>
      </a:dk2>
      <a:lt2>
        <a:srgbClr val="FFFFFF"/>
      </a:lt2>
      <a:accent1>
        <a:srgbClr val="3FA0D4"/>
      </a:accent1>
      <a:accent2>
        <a:srgbClr val="47994B"/>
      </a:accent2>
      <a:accent3>
        <a:srgbClr val="88BA14"/>
      </a:accent3>
      <a:accent4>
        <a:srgbClr val="437C92"/>
      </a:accent4>
      <a:accent5>
        <a:srgbClr val="0AABA4"/>
      </a:accent5>
      <a:accent6>
        <a:srgbClr val="DABE86"/>
      </a:accent6>
      <a:hlink>
        <a:srgbClr val="3FA0D4"/>
      </a:hlink>
      <a:folHlink>
        <a:srgbClr val="437C92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NewFugro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NewFugro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NewFugro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NewFugro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NewFugro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28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8</TotalTime>
  <Words>1015</Words>
  <Application>Microsoft Office PowerPoint</Application>
  <PresentationFormat>On-screen Show (4:3)</PresentationFormat>
  <Paragraphs>131</Paragraphs>
  <Slides>20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1_Standarddesign</vt:lpstr>
      <vt:lpstr>Blank</vt:lpstr>
      <vt:lpstr>NewFugro</vt:lpstr>
      <vt:lpstr>2_NewFugro</vt:lpstr>
      <vt:lpstr>3_NewFugro</vt:lpstr>
      <vt:lpstr>4_NewFugro</vt:lpstr>
      <vt:lpstr>5_NewFugro</vt:lpstr>
      <vt:lpstr>think-cell Slide</vt:lpstr>
      <vt:lpstr>REMOTE SURVEY SOLUTIONS - AN INTEGRATED ACTIVE / PASSIVE APPROACH</vt:lpstr>
      <vt:lpstr>Fugro-EOMAP Teaming – Est. Aug 2015</vt:lpstr>
      <vt:lpstr>Fugro Capabilities - Our Markets</vt:lpstr>
      <vt:lpstr>EOMAP Capabilities – Markets</vt:lpstr>
      <vt:lpstr>The Case for an Integrated Survey Solution</vt:lpstr>
      <vt:lpstr>Can We Trust the Low-Cost Option?</vt:lpstr>
      <vt:lpstr>Why an Integrated Approach?</vt:lpstr>
      <vt:lpstr>SDB-ALB Comparison Results</vt:lpstr>
      <vt:lpstr>Lake Michigan</vt:lpstr>
      <vt:lpstr>Mean Differencing Surface and Profiles</vt:lpstr>
      <vt:lpstr>Profile 5</vt:lpstr>
      <vt:lpstr>Torres Strait, Australia</vt:lpstr>
      <vt:lpstr>Mean Differencing Surface and Profiles</vt:lpstr>
      <vt:lpstr>Profile 6</vt:lpstr>
      <vt:lpstr>Profile 8</vt:lpstr>
      <vt:lpstr>SDB Utility – Project Examples</vt:lpstr>
      <vt:lpstr>PowerPoint Presentation</vt:lpstr>
      <vt:lpstr> </vt:lpstr>
      <vt:lpstr>Summary</vt:lpstr>
      <vt:lpstr>PowerPoint Presentation</vt:lpstr>
    </vt:vector>
  </TitlesOfParts>
  <Company>EOMA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Bergin</dc:creator>
  <cp:lastModifiedBy>Alberto P. Costa Neves</cp:lastModifiedBy>
  <cp:revision>96</cp:revision>
  <dcterms:created xsi:type="dcterms:W3CDTF">2015-11-17T03:45:17Z</dcterms:created>
  <dcterms:modified xsi:type="dcterms:W3CDTF">2016-01-14T12:33:20Z</dcterms:modified>
</cp:coreProperties>
</file>